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heme/theme3.xml" ContentType="application/vnd.openxmlformats-officedocument.theme+xml"/>
  <Override PartName="/ppt/tags/tag24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48" r:id="rId1"/>
    <p:sldMasterId id="2147483649" r:id="rId2"/>
  </p:sldMasterIdLst>
  <p:notesMasterIdLst>
    <p:notesMasterId r:id="rId7"/>
  </p:notesMasterIdLst>
  <p:sldIdLst>
    <p:sldId id="259" r:id="rId3"/>
    <p:sldId id="263" r:id="rId4"/>
    <p:sldId id="264" r:id="rId5"/>
    <p:sldId id="257" r:id="rId6"/>
  </p:sldIdLst>
  <p:sldSz cx="12192000" cy="6858000"/>
  <p:notesSz cx="9236075" cy="6950075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shari Al Mishari" initials="MAM" lastIdx="10" clrIdx="0">
    <p:extLst>
      <p:ext uri="{19B8F6BF-5375-455C-9EA6-DF929625EA0E}">
        <p15:presenceInfo xmlns:p15="http://schemas.microsoft.com/office/powerpoint/2012/main" userId="7034e81dde916cd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60" y="21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fld id="{3AD9BDA7-98EF-4344-B91C-30A07E8A84B0}" type="datetimeFigureOut">
              <a:rPr lang="en-US" smtClean="0"/>
              <a:pPr/>
              <a:t>9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DIN Next LT Arabic Light" panose="020B0303020203050203" pitchFamily="34" charset="-78"/>
        <a:ea typeface="+mn-ea"/>
        <a:cs typeface="DIN Next LT Arabic Light" panose="020B0303020203050203" pitchFamily="34" charset="-78"/>
        <a:sym typeface="DIN Next LT Arabic Light" panose="020B0303020203050203" pitchFamily="34" charset="-78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DIN Next LT Arabic Light" panose="020B0303020203050203" pitchFamily="34" charset="-78"/>
        <a:ea typeface="+mn-ea"/>
        <a:cs typeface="DIN Next LT Arabic Light" panose="020B0303020203050203" pitchFamily="34" charset="-78"/>
        <a:sym typeface="DIN Next LT Arabic Light" panose="020B0303020203050203" pitchFamily="34" charset="-78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DIN Next LT Arabic Light" panose="020B0303020203050203" pitchFamily="34" charset="-78"/>
        <a:ea typeface="+mn-ea"/>
        <a:cs typeface="DIN Next LT Arabic Light" panose="020B0303020203050203" pitchFamily="34" charset="-78"/>
        <a:sym typeface="DIN Next LT Arabic Light" panose="020B0303020203050203" pitchFamily="34" charset="-78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DIN Next LT Arabic Light" panose="020B0303020203050203" pitchFamily="34" charset="-78"/>
        <a:ea typeface="+mn-ea"/>
        <a:cs typeface="DIN Next LT Arabic Light" panose="020B0303020203050203" pitchFamily="34" charset="-78"/>
        <a:sym typeface="DIN Next LT Arabic Light" panose="020B0303020203050203" pitchFamily="34" charset="-78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DIN Next LT Arabic Light" panose="020B0303020203050203" pitchFamily="34" charset="-78"/>
        <a:ea typeface="+mn-ea"/>
        <a:cs typeface="DIN Next LT Arabic Light" panose="020B0303020203050203" pitchFamily="34" charset="-78"/>
        <a:sym typeface="DIN Next LT Arabic Light" panose="020B0303020203050203" pitchFamily="34" charset="-7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>
                <a:solidFill>
                  <a:srgbClr val="6E6F73"/>
                </a:solidFill>
              </a:rPr>
              <a:pPr/>
              <a:t>0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411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1.xml"/><Relationship Id="rId7" Type="http://schemas.openxmlformats.org/officeDocument/2006/relationships/image" Target="../media/image7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3.xml"/><Relationship Id="rId7" Type="http://schemas.openxmlformats.org/officeDocument/2006/relationships/image" Target="../media/image7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5.xml"/><Relationship Id="rId7" Type="http://schemas.openxmlformats.org/officeDocument/2006/relationships/image" Target="../media/image7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3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87.xml"/><Relationship Id="rId7" Type="http://schemas.openxmlformats.org/officeDocument/2006/relationships/image" Target="../media/image7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89.xml"/><Relationship Id="rId7" Type="http://schemas.openxmlformats.org/officeDocument/2006/relationships/image" Target="../media/image7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1.xml"/><Relationship Id="rId7" Type="http://schemas.openxmlformats.org/officeDocument/2006/relationships/image" Target="../media/image7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3.xml"/><Relationship Id="rId7" Type="http://schemas.openxmlformats.org/officeDocument/2006/relationships/image" Target="../media/image8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5.xml"/><Relationship Id="rId7" Type="http://schemas.openxmlformats.org/officeDocument/2006/relationships/image" Target="../media/image9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9.xml"/><Relationship Id="rId7" Type="http://schemas.openxmlformats.org/officeDocument/2006/relationships/image" Target="../media/image9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1.xml"/><Relationship Id="rId7" Type="http://schemas.openxmlformats.org/officeDocument/2006/relationships/image" Target="../media/image8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3.xml"/><Relationship Id="rId7" Type="http://schemas.openxmlformats.org/officeDocument/2006/relationships/image" Target="../media/image9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5.emf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5.xml"/><Relationship Id="rId7" Type="http://schemas.openxmlformats.org/officeDocument/2006/relationships/image" Target="../media/image8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3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7.xml"/><Relationship Id="rId7" Type="http://schemas.openxmlformats.org/officeDocument/2006/relationships/image" Target="../media/image9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5.emf"/></Relationships>
</file>

<file path=ppt/slideLayouts/_rels/slideLayout1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09.xml"/><Relationship Id="rId7" Type="http://schemas.openxmlformats.org/officeDocument/2006/relationships/image" Target="../media/image6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5.jpeg"/><Relationship Id="rId2" Type="http://schemas.openxmlformats.org/officeDocument/2006/relationships/tags" Target="../tags/tag21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7.bin"/></Relationships>
</file>

<file path=ppt/slideLayouts/_rels/slideLayout1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4.xml"/><Relationship Id="rId7" Type="http://schemas.openxmlformats.org/officeDocument/2006/relationships/image" Target="../media/image6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5.emf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6.xml"/><Relationship Id="rId7" Type="http://schemas.openxmlformats.org/officeDocument/2006/relationships/image" Target="../media/image8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8.xml"/><Relationship Id="rId7" Type="http://schemas.openxmlformats.org/officeDocument/2006/relationships/image" Target="../media/image6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3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5.jpeg"/><Relationship Id="rId2" Type="http://schemas.openxmlformats.org/officeDocument/2006/relationships/tags" Target="../tags/tag219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5.jpeg"/><Relationship Id="rId2" Type="http://schemas.openxmlformats.org/officeDocument/2006/relationships/tags" Target="../tags/tag221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5.jpeg"/><Relationship Id="rId2" Type="http://schemas.openxmlformats.org/officeDocument/2006/relationships/tags" Target="../tags/tag2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27.xml"/><Relationship Id="rId7" Type="http://schemas.openxmlformats.org/officeDocument/2006/relationships/image" Target="../media/image6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2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29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31.xml"/><Relationship Id="rId7" Type="http://schemas.openxmlformats.org/officeDocument/2006/relationships/image" Target="../media/image7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5.jpeg"/><Relationship Id="rId2" Type="http://schemas.openxmlformats.org/officeDocument/2006/relationships/tags" Target="../tags/tag232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37.xml"/><Relationship Id="rId7" Type="http://schemas.openxmlformats.org/officeDocument/2006/relationships/image" Target="../media/image7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40.xml"/><Relationship Id="rId7" Type="http://schemas.openxmlformats.org/officeDocument/2006/relationships/image" Target="../media/image4.emf"/><Relationship Id="rId2" Type="http://schemas.openxmlformats.org/officeDocument/2006/relationships/tags" Target="../tags/tag239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42.xml"/><Relationship Id="rId7" Type="http://schemas.openxmlformats.org/officeDocument/2006/relationships/image" Target="../media/image6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3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5.xml"/><Relationship Id="rId7" Type="http://schemas.openxmlformats.org/officeDocument/2006/relationships/image" Target="../media/image9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7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5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2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6.xml"/><Relationship Id="rId7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4.xml"/><Relationship Id="rId7" Type="http://schemas.openxmlformats.org/officeDocument/2006/relationships/image" Target="../media/image5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5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5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7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9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1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3.xml"/><Relationship Id="rId7" Type="http://schemas.openxmlformats.org/officeDocument/2006/relationships/image" Target="../media/image8.png"/><Relationship Id="rId2" Type="http://schemas.openxmlformats.org/officeDocument/2006/relationships/tags" Target="../tags/tag7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5.xml"/><Relationship Id="rId7" Type="http://schemas.openxmlformats.org/officeDocument/2006/relationships/image" Target="../media/image9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7.xml"/><Relationship Id="rId7" Type="http://schemas.openxmlformats.org/officeDocument/2006/relationships/image" Target="../media/image11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9.xml"/><Relationship Id="rId7" Type="http://schemas.openxmlformats.org/officeDocument/2006/relationships/image" Target="../media/image9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1.xml"/><Relationship Id="rId7" Type="http://schemas.openxmlformats.org/officeDocument/2006/relationships/image" Target="../media/image8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3.xml"/><Relationship Id="rId7" Type="http://schemas.openxmlformats.org/officeDocument/2006/relationships/image" Target="../media/image9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7.xml"/><Relationship Id="rId7" Type="http://schemas.openxmlformats.org/officeDocument/2006/relationships/image" Target="../media/image9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emf"/></Relationships>
</file>

<file path=ppt/slideLayouts/_rels/slideLayout4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89.xml"/><Relationship Id="rId7" Type="http://schemas.openxmlformats.org/officeDocument/2006/relationships/image" Target="../media/image6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5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4.xml"/><Relationship Id="rId7" Type="http://schemas.openxmlformats.org/officeDocument/2006/relationships/image" Target="../media/image6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6.xml"/><Relationship Id="rId7" Type="http://schemas.openxmlformats.org/officeDocument/2006/relationships/image" Target="../media/image8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5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8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5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5.jpeg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5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07.xml"/><Relationship Id="rId7" Type="http://schemas.openxmlformats.org/officeDocument/2006/relationships/image" Target="../media/image6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5.jpeg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7.xml"/><Relationship Id="rId7" Type="http://schemas.openxmlformats.org/officeDocument/2006/relationships/image" Target="../media/image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20.xml"/><Relationship Id="rId7" Type="http://schemas.openxmlformats.org/officeDocument/2006/relationships/image" Target="../media/image4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24.xml"/><Relationship Id="rId7" Type="http://schemas.openxmlformats.org/officeDocument/2006/relationships/image" Target="../media/image4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5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28.xml"/><Relationship Id="rId7" Type="http://schemas.openxmlformats.org/officeDocument/2006/relationships/image" Target="../media/image6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29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1.xml"/><Relationship Id="rId7" Type="http://schemas.openxmlformats.org/officeDocument/2006/relationships/image" Target="../media/image7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3.xml"/><Relationship Id="rId7" Type="http://schemas.openxmlformats.org/officeDocument/2006/relationships/image" Target="../media/image7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35.xml"/><Relationship Id="rId7" Type="http://schemas.openxmlformats.org/officeDocument/2006/relationships/image" Target="../media/image7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37.xml"/><Relationship Id="rId7" Type="http://schemas.openxmlformats.org/officeDocument/2006/relationships/image" Target="../media/image7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39.xml"/><Relationship Id="rId7" Type="http://schemas.openxmlformats.org/officeDocument/2006/relationships/image" Target="../media/image7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1.xml"/><Relationship Id="rId7" Type="http://schemas.openxmlformats.org/officeDocument/2006/relationships/image" Target="../media/image8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43.xml"/><Relationship Id="rId7" Type="http://schemas.openxmlformats.org/officeDocument/2006/relationships/image" Target="../media/image9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5.xml"/><Relationship Id="rId7" Type="http://schemas.openxmlformats.org/officeDocument/2006/relationships/image" Target="../media/image11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47.xml"/><Relationship Id="rId7" Type="http://schemas.openxmlformats.org/officeDocument/2006/relationships/image" Target="../media/image9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9.xml"/><Relationship Id="rId7" Type="http://schemas.openxmlformats.org/officeDocument/2006/relationships/image" Target="../media/image8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3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1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3.xml"/><Relationship Id="rId7" Type="http://schemas.openxmlformats.org/officeDocument/2006/relationships/image" Target="../media/image8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10" Type="http://schemas.openxmlformats.org/officeDocument/2006/relationships/image" Target="../media/image4.emf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5.xml"/><Relationship Id="rId7" Type="http://schemas.openxmlformats.org/officeDocument/2006/relationships/image" Target="../media/image9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8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5.jpeg"/><Relationship Id="rId2" Type="http://schemas.openxmlformats.org/officeDocument/2006/relationships/tags" Target="../tags/tag15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9.bin"/></Relationships>
</file>

<file path=ppt/slideLayouts/_rels/slideLayout8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2.xml"/><Relationship Id="rId7" Type="http://schemas.openxmlformats.org/officeDocument/2006/relationships/image" Target="../media/image6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7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5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6.xml"/><Relationship Id="rId7" Type="http://schemas.openxmlformats.org/officeDocument/2006/relationships/image" Target="../media/image6.png"/><Relationship Id="rId2" Type="http://schemas.openxmlformats.org/officeDocument/2006/relationships/tags" Target="../tags/tag16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5.jpeg"/><Relationship Id="rId2" Type="http://schemas.openxmlformats.org/officeDocument/2006/relationships/tags" Target="../tags/tag167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5.jpeg"/><Relationship Id="rId2" Type="http://schemas.openxmlformats.org/officeDocument/2006/relationships/tags" Target="../tags/tag170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6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74.xml"/><Relationship Id="rId7" Type="http://schemas.openxmlformats.org/officeDocument/2006/relationships/image" Target="../media/image5.jpeg"/><Relationship Id="rId2" Type="http://schemas.openxmlformats.org/officeDocument/2006/relationships/tags" Target="../tags/tag173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5.jpeg"/><Relationship Id="rId2" Type="http://schemas.openxmlformats.org/officeDocument/2006/relationships/tags" Target="../tags/tag175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5.jpeg"/><Relationship Id="rId2" Type="http://schemas.openxmlformats.org/officeDocument/2006/relationships/tags" Target="../tags/tag177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98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43" y="615839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itle 4"/>
          <p:cNvSpPr>
            <a:spLocks noGrp="1"/>
          </p:cNvSpPr>
          <p:nvPr>
            <p:ph type="title" hasCustomPrompt="1"/>
          </p:nvPr>
        </p:nvSpPr>
        <p:spPr>
          <a:xfrm>
            <a:off x="564743" y="2616953"/>
            <a:ext cx="5710342" cy="886397"/>
          </a:xfrm>
        </p:spPr>
        <p:txBody>
          <a:bodyPr anchor="b">
            <a:noAutofit/>
          </a:bodyPr>
          <a:lstStyle>
            <a:lvl1pPr algn="r" rtl="1"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743" y="3650295"/>
            <a:ext cx="5710342" cy="406265"/>
          </a:xfrm>
        </p:spPr>
        <p:txBody>
          <a:bodyPr>
            <a:spAutoFit/>
          </a:bodyPr>
          <a:lstStyle>
            <a:lvl1pPr algn="r" rtl="1"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4743" y="4603520"/>
            <a:ext cx="5710342" cy="270843"/>
          </a:xfrm>
        </p:spPr>
        <p:txBody>
          <a:bodyPr>
            <a:spAutoFit/>
          </a:bodyPr>
          <a:lstStyle>
            <a:lvl1pPr algn="r" rtl="1"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661" name="Group 660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3" name="Oval 2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8" name="Oval 107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9" name="Oval 108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0" name="Oval 109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5" name="Oval 114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6" name="Oval 115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7" name="Oval 116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8" name="Oval 117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0" name="Oval 119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1" name="Oval 120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2" name="Oval 121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3" name="Oval 122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4" name="Oval 123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5" name="Oval 124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6" name="Oval 125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7" name="Oval 126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8" name="Oval 127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0" name="Oval 129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2" name="Oval 131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3" name="Oval 132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4" name="Oval 133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5" name="Oval 134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6" name="Oval 135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7" name="Oval 136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8" name="Oval 137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9" name="Oval 138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0" name="Oval 139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1" name="Oval 140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3" name="Oval 142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4" name="Oval 143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5" name="Oval 144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6" name="Oval 145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7" name="Oval 146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8" name="Oval 147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9" name="Oval 148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0" name="Oval 149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1" name="Oval 150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2" name="Oval 151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3" name="Oval 152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4" name="Oval 153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6" name="Oval 155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7" name="Oval 156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9" name="Oval 158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0" name="Oval 159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1" name="Oval 160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2" name="Oval 161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3" name="Oval 162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4" name="Oval 163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5" name="Oval 164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6" name="Oval 165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7" name="Oval 166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8" name="Oval 167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9" name="Oval 168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0" name="Oval 169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1" name="Oval 170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2" name="Oval 171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3" name="Oval 172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4" name="Oval 173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5" name="Oval 174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6" name="Oval 175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7" name="Oval 176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8" name="Oval 177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9" name="Oval 178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0" name="Oval 179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1" name="Oval 180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2" name="Oval 181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3" name="Oval 182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4" name="Oval 183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Oval 247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0" name="Freeform 64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2" name="Freeform 631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3" name="Freeform 632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4" name="Freeform 633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5" name="Freeform 634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6" name="Freeform 635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7" name="Freeform 636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8" name="Freeform 637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9" name="Freeform 638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0" name="Freeform 639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1" name="Freeform 640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2" name="Freeform 641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3" name="Freeform 642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5" name="Freeform 644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6" name="Freeform 645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7" name="Freeform 646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1" name="Freeform 650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2" name="Freeform 651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3" name="Freeform 652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4" name="Freeform 653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5" name="Freeform 654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6" name="Freeform 655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7" name="Freeform 656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60" name="Freeform 659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245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 flipH="1">
            <a:off x="0" y="0"/>
            <a:ext cx="4782151" cy="6858000"/>
            <a:chOff x="7409849" y="0"/>
            <a:chExt cx="4782151" cy="6858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7409849" y="0"/>
              <a:ext cx="416951" cy="685800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 bwMode="gray">
            <a:xfrm>
              <a:off x="7819543" y="0"/>
              <a:ext cx="437245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372457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315798" y="1804650"/>
            <a:ext cx="6247552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847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 flipV="1">
            <a:off x="771005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 flipH="1">
            <a:off x="811249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93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606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09443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 flipH="1">
            <a:off x="5020044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6821" y="622800"/>
            <a:ext cx="6276529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69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471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45803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 flipH="1" flipV="1">
            <a:off x="3157728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61765" y="622800"/>
            <a:ext cx="8101586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19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494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 flipH="1">
            <a:off x="0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5" name="Date Placeholder 1"/>
          <p:cNvSpPr>
            <a:spLocks noGrp="1"/>
          </p:cNvSpPr>
          <p:nvPr userDrawn="1">
            <p:ph type="dt" sz="half" idx="29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9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106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>
          <a:xfrm flipH="1">
            <a:off x="0" y="0"/>
            <a:ext cx="6502418" cy="6858000"/>
            <a:chOff x="5689582" y="0"/>
            <a:chExt cx="6502418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5689582" y="0"/>
              <a:ext cx="416951" cy="68580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>
            <a:xfrm>
              <a:off x="6096000" y="0"/>
              <a:ext cx="6096000" cy="6858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546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174950" y="1785600"/>
            <a:ext cx="4388400" cy="3286800"/>
          </a:xfrm>
        </p:spPr>
        <p:txBody>
          <a:bodyPr rIns="32004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53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36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>
          <a:xfrm flipH="1">
            <a:off x="0" y="0"/>
            <a:ext cx="4782151" cy="6858000"/>
            <a:chOff x="7409849" y="0"/>
            <a:chExt cx="4782151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7409849" y="0"/>
              <a:ext cx="416951" cy="68580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 bwMode="gray">
            <a:xfrm>
              <a:off x="7819543" y="0"/>
              <a:ext cx="4372457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5315798" y="1785600"/>
            <a:ext cx="6247552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39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911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6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583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9084711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7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45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21480000" flipH="1">
            <a:off x="7324217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7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0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11901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501114" y="1785600"/>
            <a:ext cx="4062235" cy="3286800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5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3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 flipH="1">
            <a:off x="5919276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3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501114" y="1785600"/>
            <a:ext cx="4062235" cy="3286800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00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26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583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6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2894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815528" y="622800"/>
            <a:ext cx="4747822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67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503716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815528" y="622800"/>
            <a:ext cx="4747822" cy="332399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3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318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36411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8854" y="622800"/>
            <a:ext cx="6254496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97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525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2929706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5308853" y="622800"/>
            <a:ext cx="6254496" cy="332399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5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51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2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78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630512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chemeClr val="tx2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19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87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0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5400000">
            <a:off x="462528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24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586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37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64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18112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8743950" y="2577934"/>
            <a:ext cx="2819400" cy="1761764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6" name="TextBox 155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8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042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8" name="TextBox 147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2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76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 flipH="1">
            <a:off x="8103689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21480000" flipH="1">
            <a:off x="7322693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63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0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41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711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17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362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9" name="Group 218"/>
          <p:cNvGrpSpPr/>
          <p:nvPr userDrawn="1"/>
        </p:nvGrpSpPr>
        <p:grpSpPr>
          <a:xfrm>
            <a:off x="564743" y="2405314"/>
            <a:ext cx="5304471" cy="2047372"/>
            <a:chOff x="7560629" y="301573"/>
            <a:chExt cx="4018463" cy="1551010"/>
          </a:xfrm>
        </p:grpSpPr>
        <p:pic>
          <p:nvPicPr>
            <p:cNvPr id="220" name="Picture 219"/>
            <p:cNvPicPr>
              <a:picLocks noChangeAspect="1"/>
            </p:cNvPicPr>
            <p:nvPr userDrawn="1"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221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4" name="Group 83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5" name="Oval 84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6" name="Oval 85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7" name="Oval 86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1" name="Oval 90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2" name="Oval 91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3" name="Oval 92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4" name="Oval 93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5" name="Oval 94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6" name="Oval 95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7" name="Oval 96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8" name="Oval 97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9" name="Oval 98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0" name="Oval 99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1" name="Oval 100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2" name="Oval 101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3" name="Oval 102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4" name="Oval 103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5" name="Oval 104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7" name="Oval 106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8" name="Oval 107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9" name="Oval 108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0" name="Oval 109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1" name="Oval 110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2" name="Oval 111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3" name="Oval 112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4" name="Oval 113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5" name="Oval 114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6" name="Oval 115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7" name="Oval 116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8" name="Oval 117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9" name="Oval 118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0" name="Oval 119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1" name="Oval 120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2" name="Oval 121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3" name="Oval 122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4" name="Oval 123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5" name="Oval 124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6" name="Oval 125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7" name="Oval 126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8" name="Oval 127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9" name="Oval 128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0" name="Oval 129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1" name="Oval 130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2" name="Oval 131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3" name="Oval 132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4" name="Oval 133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5" name="Oval 134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6" name="Oval 135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7" name="Oval 136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8" name="Oval 137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9" name="Oval 138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0" name="Oval 139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Oval 244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Freeform 247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930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66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2531986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1. xxxx  2. xxxx  3. xxxx</a:t>
              </a:r>
            </a:p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-900" y="-1"/>
            <a:ext cx="12193800" cy="6858001"/>
            <a:chOff x="-600" y="-1"/>
            <a:chExt cx="12193800" cy="6858001"/>
          </a:xfrm>
        </p:grpSpPr>
        <p:sp>
          <p:nvSpPr>
            <p:cNvPr id="52" name="No fly zone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3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9" name="Straight Connector 78"/>
              <p:cNvCxnSpPr/>
              <p:nvPr userDrawn="1"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8" name="Rectangle 67"/>
              <p:cNvSpPr>
                <a:spLocks noChangeArrowheads="1"/>
              </p:cNvSpPr>
              <p:nvPr userDrawn="1"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9" name="Rectangle 68"/>
              <p:cNvSpPr>
                <a:spLocks noChangeArrowheads="1"/>
              </p:cNvSpPr>
              <p:nvPr userDrawn="1"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0" name="Rectangle 69"/>
              <p:cNvSpPr>
                <a:spLocks noChangeArrowheads="1"/>
              </p:cNvSpPr>
              <p:nvPr userDrawn="1"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1" name="Rectangle 70"/>
              <p:cNvSpPr>
                <a:spLocks noChangeArrowheads="1"/>
              </p:cNvSpPr>
              <p:nvPr userDrawn="1"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2" name="Rectangle 71"/>
              <p:cNvSpPr>
                <a:spLocks noChangeArrowheads="1"/>
              </p:cNvSpPr>
              <p:nvPr userDrawn="1"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3" name="Rectangle 72"/>
              <p:cNvSpPr>
                <a:spLocks noChangeArrowheads="1"/>
              </p:cNvSpPr>
              <p:nvPr userDrawn="1"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4" name="Rectangle 73"/>
              <p:cNvSpPr>
                <a:spLocks noChangeArrowheads="1"/>
              </p:cNvSpPr>
              <p:nvPr userDrawn="1"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5" name="Rectangle 74"/>
              <p:cNvSpPr>
                <a:spLocks noChangeArrowheads="1"/>
              </p:cNvSpPr>
              <p:nvPr userDrawn="1"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6" name="Rectangle 75"/>
              <p:cNvSpPr>
                <a:spLocks noChangeArrowheads="1"/>
              </p:cNvSpPr>
              <p:nvPr userDrawn="1"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7" name="Rectangle 76"/>
              <p:cNvSpPr>
                <a:spLocks noChangeArrowheads="1"/>
              </p:cNvSpPr>
              <p:nvPr userDrawn="1"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8" name="Rectangle 77"/>
              <p:cNvSpPr>
                <a:spLocks noChangeArrowheads="1"/>
              </p:cNvSpPr>
              <p:nvPr userDrawn="1"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7" name="Slide edges"/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dirty="0">
                <a:solidFill>
                  <a:srgbClr val="575757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 userDrawn="1"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 userDrawn="1"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60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3" name="Rectangle 62"/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4" name="Rectangle 63"/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5" name="Rectangle 64"/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6" name="Rectangle 65"/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7" name="Rectangle 66"/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61" name="Live area"/>
            <p:cNvSpPr/>
            <p:nvPr userDrawn="1"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" name="Footnote example"/>
            <p:cNvSpPr txBox="1"/>
            <p:nvPr userDrawn="1"/>
          </p:nvSpPr>
          <p:spPr>
            <a:xfrm>
              <a:off x="2531687" y="6421441"/>
              <a:ext cx="903091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90000"/>
                </a:lnSpc>
                <a:defRPr/>
              </a:pPr>
              <a:endParaRPr lang="en-US" sz="1000" dirty="0">
                <a:solidFill>
                  <a:prstClr val="white">
                    <a:lumMod val="65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404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351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871861" y="4691187"/>
            <a:ext cx="2691489" cy="1468176"/>
            <a:chOff x="8871861" y="4691187"/>
            <a:chExt cx="2691489" cy="1468176"/>
          </a:xfrm>
        </p:grpSpPr>
        <p:sp>
          <p:nvSpPr>
            <p:cNvPr id="11" name="Rectangle 10"/>
            <p:cNvSpPr/>
            <p:nvPr userDrawn="1"/>
          </p:nvSpPr>
          <p:spPr bwMode="invGray">
            <a:xfrm>
              <a:off x="8871861" y="4691187"/>
              <a:ext cx="929337" cy="99587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20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" name="Rectangle 11"/>
            <p:cNvSpPr/>
            <p:nvPr userDrawn="1">
              <p:custDataLst>
                <p:tags r:id="rId3"/>
              </p:custDataLst>
            </p:nvPr>
          </p:nvSpPr>
          <p:spPr>
            <a:xfrm>
              <a:off x="9993198" y="4691187"/>
              <a:ext cx="1570152" cy="1468176"/>
            </a:xfrm>
            <a:prstGeom prst="rect">
              <a:avLst/>
            </a:prstGeom>
            <a:noFill/>
            <a:ln w="9525" cmpd="sng">
              <a:solidFill>
                <a:srgbClr val="FFFFF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5000"/>
                </a:lnSpc>
              </a:pPr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8113716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94023" y="1115416"/>
            <a:ext cx="2488182" cy="896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54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150" name="TextBox 149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6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066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9" name="TextBox 14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6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839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73352" y="622800"/>
            <a:ext cx="7189998" cy="4708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1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34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0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9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154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>
            <a:off x="0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016206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239" name="TextBox 23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52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592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871861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9993198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113716" y="907197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28D69C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593665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r"/>
            <a:r>
              <a:rPr lang="en-US" dirty="0">
                <a:solidFill>
                  <a:srgbClr val="177C5A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02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650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3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926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1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11901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7501115" y="1785600"/>
            <a:ext cx="4062235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542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373352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 rtl="1"/>
            <a:r>
              <a:rPr lang="en-US" dirty="0">
                <a:solidFill>
                  <a:srgbClr val="177C5A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0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410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 flipH="1">
            <a:off x="0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02303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193" name="TextBox 192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3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430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18112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8743950" y="2611725"/>
            <a:ext cx="2819400" cy="169418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rtl="1"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177C5A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93" name="TextBox 192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b="1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b="1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15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32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6539"/>
            <a:ext cx="2743200" cy="99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flipH="1">
            <a:off x="11656674" y="570986"/>
            <a:ext cx="222607" cy="8780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8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ar-SA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7_اللقاء التعريفي - استراتيجية مركز المعلومات الوطني </a:t>
            </a: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v14_F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72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53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 flipH="1">
            <a:off x="5919276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501115" y="1785600"/>
            <a:ext cx="4062235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14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2894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 userDrawn="1">
            <p:ph type="dt" sz="half" idx="16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889702" y="622800"/>
            <a:ext cx="4673646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240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503716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889703" y="622800"/>
            <a:ext cx="4673646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427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36411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910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2929706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65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735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622800"/>
            <a:ext cx="10933200" cy="4708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47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630512" y="625475"/>
            <a:ext cx="932688" cy="932688"/>
          </a:xfrm>
          <a:prstGeom prst="rect">
            <a:avLst/>
          </a:prstGeom>
          <a:noFill/>
          <a:ln>
            <a:solidFill>
              <a:srgbClr val="177C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310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6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5400000">
            <a:off x="462528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20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6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090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3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812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6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76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8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11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3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" name="Group 90"/>
          <p:cNvGrpSpPr/>
          <p:nvPr userDrawn="1"/>
        </p:nvGrpSpPr>
        <p:grpSpPr>
          <a:xfrm>
            <a:off x="564743" y="2405314"/>
            <a:ext cx="5304471" cy="2047372"/>
            <a:chOff x="7560629" y="301573"/>
            <a:chExt cx="4018463" cy="1551010"/>
          </a:xfrm>
        </p:grpSpPr>
        <p:pic>
          <p:nvPicPr>
            <p:cNvPr id="92" name="Picture 91"/>
            <p:cNvPicPr>
              <a:picLocks noChangeAspect="1"/>
            </p:cNvPicPr>
            <p:nvPr userDrawn="1"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93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5" name="Group 84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6" name="Oval 85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7" name="Oval 86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2" name="Oval 171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3" name="Oval 172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4" name="Oval 173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5" name="Oval 174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6" name="Oval 175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7" name="Oval 176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8" name="Oval 177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9" name="Oval 178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0" name="Oval 179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1" name="Oval 180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2" name="Oval 181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3" name="Oval 182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4" name="Oval 183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7" name="Oval 196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8" name="Oval 197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1" name="Oval 220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2" name="Oval 221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Oval 244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Freeform 247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6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Picture 9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2531986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1. xxxx  2. xxxx  3. xxxx</a:t>
              </a:r>
            </a:p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70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7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43" y="615839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00860" y="470136"/>
            <a:ext cx="1644331" cy="1551010"/>
          </a:xfrm>
          <a:prstGeom prst="rect">
            <a:avLst/>
          </a:prstGeom>
        </p:spPr>
      </p:pic>
      <p:sp>
        <p:nvSpPr>
          <p:cNvPr id="255" name="Title 4"/>
          <p:cNvSpPr>
            <a:spLocks noGrp="1"/>
          </p:cNvSpPr>
          <p:nvPr>
            <p:ph type="title" hasCustomPrompt="1"/>
          </p:nvPr>
        </p:nvSpPr>
        <p:spPr>
          <a:xfrm>
            <a:off x="564743" y="2616953"/>
            <a:ext cx="5710342" cy="886397"/>
          </a:xfrm>
        </p:spPr>
        <p:txBody>
          <a:bodyPr anchor="b">
            <a:noAutofit/>
          </a:bodyPr>
          <a:lstStyle>
            <a:lvl1pPr algn="r" rtl="1"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5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743" y="3650295"/>
            <a:ext cx="5710342" cy="406265"/>
          </a:xfrm>
        </p:spPr>
        <p:txBody>
          <a:bodyPr>
            <a:spAutoFit/>
          </a:bodyPr>
          <a:lstStyle>
            <a:lvl1pPr algn="r" rtl="1"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5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4743" y="4603520"/>
            <a:ext cx="5710342" cy="270843"/>
          </a:xfrm>
        </p:spPr>
        <p:txBody>
          <a:bodyPr>
            <a:spAutoFit/>
          </a:bodyPr>
          <a:lstStyle>
            <a:lvl1pPr algn="r" rtl="1"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86" name="Group 85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7" name="Oval 86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1" name="Oval 90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2" name="Oval 91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3" name="Oval 92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4" name="Oval 93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5" name="Oval 94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6" name="Oval 95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7" name="Oval 96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8" name="Oval 97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9" name="Oval 98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0" name="Oval 99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1" name="Oval 100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2" name="Oval 101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3" name="Oval 102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4" name="Oval 103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5" name="Oval 104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7" name="Oval 106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7" name="Oval 196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8" name="Oval 197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1" name="Oval 220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2" name="Oval 221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Freeform 244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Oval 247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777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12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749760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91440" rIns="4572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127599" y="1544274"/>
            <a:ext cx="3452400" cy="1495794"/>
          </a:xfrm>
        </p:spPr>
        <p:txBody>
          <a:bodyPr lIns="320040" rIns="320040"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3200" kern="1200" dirty="0" smtClean="0">
                <a:solidFill>
                  <a:schemeClr val="tx2"/>
                </a:solidFill>
                <a:latin typeface="DIN Next LT Arabic Light" panose="020B0303020203050203" pitchFamily="34" charset="-78"/>
                <a:ea typeface="+mj-ea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065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749760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819350" y="2158987"/>
            <a:ext cx="3744000" cy="541687"/>
          </a:xfrm>
        </p:spPr>
        <p:txBody>
          <a:bodyPr anchor="t"/>
          <a:lstStyle>
            <a:lvl1pPr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7819350" y="1227048"/>
            <a:ext cx="3744000" cy="664797"/>
          </a:xfr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40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284742" y="2668041"/>
            <a:ext cx="9620491" cy="3201026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chemeClr val="tx2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953512" y="1424081"/>
            <a:ext cx="951721" cy="951721"/>
          </a:xfrm>
          <a:prstGeom prst="rect">
            <a:avLst/>
          </a:prstGeom>
          <a:noFill/>
          <a:ln>
            <a:solidFill>
              <a:srgbClr val="177C5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211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3826800"/>
            <a:ext cx="10936800" cy="2041200"/>
          </a:xfr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645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 flipV="1">
            <a:off x="7710055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 flipH="1">
            <a:off x="811249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23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09443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 flipH="1">
            <a:off x="5020044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6821" y="622800"/>
            <a:ext cx="6276529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91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45803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 flipH="1" flipV="1">
            <a:off x="3157728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61765" y="622800"/>
            <a:ext cx="8101586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527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 flipH="1">
            <a:off x="0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5" name="Date Placeholder 1"/>
          <p:cNvSpPr>
            <a:spLocks noGrp="1"/>
          </p:cNvSpPr>
          <p:nvPr userDrawn="1">
            <p:ph type="dt" sz="half" idx="29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20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>
          <a:xfrm flipH="1">
            <a:off x="0" y="0"/>
            <a:ext cx="6502418" cy="6858000"/>
            <a:chOff x="5689582" y="0"/>
            <a:chExt cx="6502418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5689582" y="0"/>
              <a:ext cx="416951" cy="68580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>
            <a:xfrm>
              <a:off x="6096000" y="0"/>
              <a:ext cx="6096000" cy="685800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8546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174950" y="1785600"/>
            <a:ext cx="4388400" cy="3286800"/>
          </a:xfrm>
        </p:spPr>
        <p:txBody>
          <a:bodyPr rIns="32004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8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>
          <a:xfrm flipH="1">
            <a:off x="0" y="0"/>
            <a:ext cx="4782151" cy="6858000"/>
            <a:chOff x="7409849" y="0"/>
            <a:chExt cx="4782151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7409849" y="0"/>
              <a:ext cx="416951" cy="68580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 userDrawn="1"/>
          </p:nvSpPr>
          <p:spPr bwMode="gray">
            <a:xfrm>
              <a:off x="7819543" y="0"/>
              <a:ext cx="4372457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5315798" y="1785600"/>
            <a:ext cx="6247552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515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583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9084711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594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284742" y="2668041"/>
            <a:ext cx="9620491" cy="3201026"/>
          </a:xfr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137160" rIns="274320" bIns="137160"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957561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492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21480000" flipH="1">
            <a:off x="7324217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123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11901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501114" y="1785600"/>
            <a:ext cx="4062235" cy="3286800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23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 flipH="1">
            <a:off x="5919276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3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7501114" y="1785600"/>
            <a:ext cx="4062235" cy="3286800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46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2894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815528" y="622800"/>
            <a:ext cx="4747822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942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503716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815528" y="622800"/>
            <a:ext cx="4747822" cy="332399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50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36411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8854" y="622800"/>
            <a:ext cx="6254496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73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2929706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5308853" y="622800"/>
            <a:ext cx="6254496" cy="332399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37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00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630512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chemeClr val="tx2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736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5400000">
            <a:off x="462528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010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4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800"/>
            <a:ext cx="10936800" cy="20412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862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9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719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18112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8743950" y="2577934"/>
            <a:ext cx="2819400" cy="1761764"/>
          </a:xfrm>
        </p:spPr>
        <p:txBody>
          <a:bodyPr anchor="ctr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6" name="TextBox 155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0824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40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8" name="TextBox 147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634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43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25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5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333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9" name="Group 218"/>
          <p:cNvGrpSpPr/>
          <p:nvPr userDrawn="1"/>
        </p:nvGrpSpPr>
        <p:grpSpPr>
          <a:xfrm>
            <a:off x="564743" y="2405314"/>
            <a:ext cx="5304471" cy="2047372"/>
            <a:chOff x="7560629" y="301573"/>
            <a:chExt cx="4018463" cy="1551010"/>
          </a:xfrm>
        </p:grpSpPr>
        <p:pic>
          <p:nvPicPr>
            <p:cNvPr id="220" name="Picture 219"/>
            <p:cNvPicPr>
              <a:picLocks noChangeAspect="1"/>
            </p:cNvPicPr>
            <p:nvPr userDrawn="1"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221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4" name="Group 83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5" name="Oval 84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6" name="Oval 85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7" name="Oval 86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1" name="Oval 90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2" name="Oval 91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3" name="Oval 92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4" name="Oval 93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5" name="Oval 94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6" name="Oval 95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7" name="Oval 96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8" name="Oval 97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9" name="Oval 98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0" name="Oval 99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1" name="Oval 100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2" name="Oval 101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3" name="Oval 102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4" name="Oval 103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5" name="Oval 104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7" name="Oval 106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8" name="Oval 107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9" name="Oval 108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0" name="Oval 109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1" name="Oval 110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2" name="Oval 111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3" name="Oval 112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4" name="Oval 113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5" name="Oval 114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6" name="Oval 115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7" name="Oval 116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8" name="Oval 117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9" name="Oval 118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0" name="Oval 119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1" name="Oval 120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2" name="Oval 121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3" name="Oval 122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4" name="Oval 123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5" name="Oval 124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6" name="Oval 125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7" name="Oval 126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8" name="Oval 127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9" name="Oval 128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0" name="Oval 129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1" name="Oval 130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2" name="Oval 131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3" name="Oval 132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4" name="Oval 133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5" name="Oval 134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6" name="Oval 135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7" name="Oval 136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8" name="Oval 137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9" name="Oval 138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0" name="Oval 139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Oval 244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Freeform 247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2531986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1. xxxx  2. xxxx  3. xxxx</a:t>
              </a:r>
            </a:p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7F7F55"/>
                  </a:solidFill>
                  <a:effectLst/>
                  <a:uLnTx/>
                  <a:uFillTx/>
                  <a:latin typeface="DIN Next LT Arabic Light" panose="020B0303020203050203" pitchFamily="34" charset="-78"/>
                  <a:ea typeface="+mn-ea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-900" y="-1"/>
            <a:ext cx="12193800" cy="6858001"/>
            <a:chOff x="-600" y="-1"/>
            <a:chExt cx="12193800" cy="6858001"/>
          </a:xfrm>
        </p:grpSpPr>
        <p:sp>
          <p:nvSpPr>
            <p:cNvPr id="52" name="No fly zone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3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9" name="Straight Connector 78"/>
              <p:cNvCxnSpPr/>
              <p:nvPr userDrawn="1"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 userDrawn="1"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 userDrawn="1"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 userDrawn="1"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 userDrawn="1"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 userDrawn="1"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 userDrawn="1"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 userDrawn="1"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 userDrawn="1"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 userDrawn="1"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 userDrawn="1"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 userDrawn="1"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 userDrawn="1"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 userDrawn="1"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 userDrawn="1"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 userDrawn="1"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 userDrawn="1"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 userDrawn="1"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 userDrawn="1"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 userDrawn="1"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8" name="Rectangle 67"/>
              <p:cNvSpPr>
                <a:spLocks noChangeArrowheads="1"/>
              </p:cNvSpPr>
              <p:nvPr userDrawn="1"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9" name="Rectangle 68"/>
              <p:cNvSpPr>
                <a:spLocks noChangeArrowheads="1"/>
              </p:cNvSpPr>
              <p:nvPr userDrawn="1"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0" name="Rectangle 69"/>
              <p:cNvSpPr>
                <a:spLocks noChangeArrowheads="1"/>
              </p:cNvSpPr>
              <p:nvPr userDrawn="1"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1" name="Rectangle 70"/>
              <p:cNvSpPr>
                <a:spLocks noChangeArrowheads="1"/>
              </p:cNvSpPr>
              <p:nvPr userDrawn="1"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2" name="Rectangle 71"/>
              <p:cNvSpPr>
                <a:spLocks noChangeArrowheads="1"/>
              </p:cNvSpPr>
              <p:nvPr userDrawn="1"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3" name="Rectangle 72"/>
              <p:cNvSpPr>
                <a:spLocks noChangeArrowheads="1"/>
              </p:cNvSpPr>
              <p:nvPr userDrawn="1"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4" name="Rectangle 73"/>
              <p:cNvSpPr>
                <a:spLocks noChangeArrowheads="1"/>
              </p:cNvSpPr>
              <p:nvPr userDrawn="1"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5" name="Rectangle 74"/>
              <p:cNvSpPr>
                <a:spLocks noChangeArrowheads="1"/>
              </p:cNvSpPr>
              <p:nvPr userDrawn="1"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6" name="Rectangle 75"/>
              <p:cNvSpPr>
                <a:spLocks noChangeArrowheads="1"/>
              </p:cNvSpPr>
              <p:nvPr userDrawn="1"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7" name="Rectangle 76"/>
              <p:cNvSpPr>
                <a:spLocks noChangeArrowheads="1"/>
              </p:cNvSpPr>
              <p:nvPr userDrawn="1"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8" name="Rectangle 77"/>
              <p:cNvSpPr>
                <a:spLocks noChangeArrowheads="1"/>
              </p:cNvSpPr>
              <p:nvPr userDrawn="1"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7" name="Slide edges"/>
            <p:cNvSpPr>
              <a:spLocks/>
            </p:cNvSpPr>
            <p:nvPr userDrawn="1"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 userDrawn="1"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 userDrawn="1"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60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3" name="Rectangle 62"/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4" name="Rectangle 63"/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5" name="Rectangle 64"/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6" name="Rectangle 65"/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7" name="Rectangle 66"/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61" name="Live area"/>
            <p:cNvSpPr/>
            <p:nvPr userDrawn="1"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" name="Footnote example"/>
            <p:cNvSpPr txBox="1"/>
            <p:nvPr userDrawn="1"/>
          </p:nvSpPr>
          <p:spPr>
            <a:xfrm>
              <a:off x="2531687" y="6421441"/>
              <a:ext cx="9030914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>
                <a:lnSpc>
                  <a:spcPct val="90000"/>
                </a:lnSpc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9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871861" y="4691187"/>
            <a:ext cx="2691489" cy="1468176"/>
            <a:chOff x="8871861" y="4691187"/>
            <a:chExt cx="2691489" cy="1468176"/>
          </a:xfrm>
        </p:grpSpPr>
        <p:sp>
          <p:nvSpPr>
            <p:cNvPr id="11" name="Rectangle 10"/>
            <p:cNvSpPr/>
            <p:nvPr userDrawn="1"/>
          </p:nvSpPr>
          <p:spPr bwMode="invGray">
            <a:xfrm>
              <a:off x="8871861" y="4691187"/>
              <a:ext cx="929337" cy="99587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" name="Rectangle 11"/>
            <p:cNvSpPr/>
            <p:nvPr userDrawn="1">
              <p:custDataLst>
                <p:tags r:id="rId3"/>
              </p:custDataLst>
            </p:nvPr>
          </p:nvSpPr>
          <p:spPr>
            <a:xfrm>
              <a:off x="9993198" y="4691187"/>
              <a:ext cx="1570152" cy="1468176"/>
            </a:xfrm>
            <a:prstGeom prst="rect">
              <a:avLst/>
            </a:prstGeom>
            <a:noFill/>
            <a:ln w="9525" cmpd="sng">
              <a:solidFill>
                <a:srgbClr val="FFFFFF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5000"/>
                </a:lnSpc>
              </a:pPr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8113716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94023" y="1115416"/>
            <a:ext cx="2488182" cy="896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 sz="5400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150" name="TextBox 149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846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9" name="TextBox 14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791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73352" y="622800"/>
            <a:ext cx="7189998" cy="4708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 sz="3400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0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45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white">
          <a:xfrm flipH="1">
            <a:off x="811249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695540" y="0"/>
            <a:ext cx="416951" cy="6858000"/>
          </a:xfrm>
          <a:prstGeom prst="rect">
            <a:avLst/>
          </a:prstGeom>
        </p:spPr>
      </p:pic>
      <p:sp>
        <p:nvSpPr>
          <p:cNvPr id="13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096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>
            <a:off x="0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016206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239" name="TextBox 238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808080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808080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729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8871861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9993198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113716" y="907197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593665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r"/>
            <a:r>
              <a:rPr lang="en-US" dirty="0">
                <a:solidFill>
                  <a:schemeClr val="tx2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598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32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373352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 rtl="1"/>
            <a:r>
              <a:rPr lang="en-US" dirty="0">
                <a:solidFill>
                  <a:schemeClr val="tx2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0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728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03981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 flipH="1">
            <a:off x="0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402303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rtl="1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Agenda</a:t>
            </a:r>
          </a:p>
        </p:txBody>
      </p:sp>
      <p:sp>
        <p:nvSpPr>
          <p:cNvPr id="193" name="TextBox 192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808080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808080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55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 flipH="1">
            <a:off x="8103688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18112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8743950" y="2611725"/>
            <a:ext cx="2819400" cy="169418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algn="r" rtl="1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93" name="TextBox 192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b="1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771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6539"/>
            <a:ext cx="2743200" cy="99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flipH="1">
            <a:off x="11656674" y="570986"/>
            <a:ext cx="222607" cy="8780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594309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16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EEFF953-22A5-4F0E-B39D-81F8A1962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174A51B-346F-4BCE-944C-6FEDC3F78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91293-1AEA-4EA7-8904-C74BAC95ACF7}" type="datetimeFigureOut">
              <a:rPr lang="en-US" smtClean="0"/>
              <a:t>9/2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8A49B8C-1160-40B3-90B0-163188BDC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9FCC0EE-E700-4783-89C6-E0D2BDCA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2AADBC4-E6D3-49F6-B532-E201F7850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0048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39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43" y="615839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00860" y="470136"/>
            <a:ext cx="1644331" cy="1551010"/>
          </a:xfrm>
          <a:prstGeom prst="rect">
            <a:avLst/>
          </a:prstGeom>
        </p:spPr>
      </p:pic>
      <p:sp>
        <p:nvSpPr>
          <p:cNvPr id="29" name="Title 4"/>
          <p:cNvSpPr>
            <a:spLocks noGrp="1"/>
          </p:cNvSpPr>
          <p:nvPr>
            <p:ph type="title" hasCustomPrompt="1"/>
          </p:nvPr>
        </p:nvSpPr>
        <p:spPr>
          <a:xfrm>
            <a:off x="564743" y="2616953"/>
            <a:ext cx="5710342" cy="886397"/>
          </a:xfrm>
        </p:spPr>
        <p:txBody>
          <a:bodyPr anchor="b">
            <a:noAutofit/>
          </a:bodyPr>
          <a:lstStyle>
            <a:lvl1pPr algn="r" rtl="1"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743" y="3650295"/>
            <a:ext cx="5710342" cy="406265"/>
          </a:xfrm>
        </p:spPr>
        <p:txBody>
          <a:bodyPr>
            <a:spAutoFit/>
          </a:bodyPr>
          <a:lstStyle>
            <a:lvl1pPr algn="r" rtl="1"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4743" y="4603520"/>
            <a:ext cx="5710342" cy="270843"/>
          </a:xfrm>
        </p:spPr>
        <p:txBody>
          <a:bodyPr>
            <a:spAutoFit/>
          </a:bodyPr>
          <a:lstStyle>
            <a:lvl1pPr algn="r" rtl="1"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661" name="Group 660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3" name="Oval 2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8" name="Oval 107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9" name="Oval 108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0" name="Oval 109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5" name="Oval 114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6" name="Oval 115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7" name="Oval 116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18" name="Oval 117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0" name="Oval 119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1" name="Oval 120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2" name="Oval 121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3" name="Oval 122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4" name="Oval 123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5" name="Oval 124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6" name="Oval 125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7" name="Oval 126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28" name="Oval 127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0" name="Oval 129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2" name="Oval 131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3" name="Oval 132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4" name="Oval 133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5" name="Oval 134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6" name="Oval 135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7" name="Oval 136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8" name="Oval 137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39" name="Oval 138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0" name="Oval 139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1" name="Oval 140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3" name="Oval 142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4" name="Oval 143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5" name="Oval 144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6" name="Oval 145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7" name="Oval 146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8" name="Oval 147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49" name="Oval 148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0" name="Oval 149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1" name="Oval 150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2" name="Oval 151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3" name="Oval 152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4" name="Oval 153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6" name="Oval 155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7" name="Oval 156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59" name="Oval 158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0" name="Oval 159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1" name="Oval 160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2" name="Oval 161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3" name="Oval 162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4" name="Oval 163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5" name="Oval 164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6" name="Oval 165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7" name="Oval 166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8" name="Oval 167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69" name="Oval 168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0" name="Oval 169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1" name="Oval 170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2" name="Oval 171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3" name="Oval 172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4" name="Oval 173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5" name="Oval 174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6" name="Oval 175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7" name="Oval 176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8" name="Oval 177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9" name="Oval 178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0" name="Oval 179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1" name="Oval 180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2" name="Oval 181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3" name="Oval 182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4" name="Oval 183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Oval 247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0" name="Freeform 64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2" name="Freeform 631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3" name="Freeform 632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4" name="Freeform 633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5" name="Freeform 634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6" name="Freeform 635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7" name="Freeform 636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8" name="Freeform 637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9" name="Freeform 638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0" name="Freeform 639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1" name="Freeform 640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2" name="Freeform 641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3" name="Freeform 642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5" name="Freeform 644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6" name="Freeform 645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47" name="Freeform 646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1" name="Freeform 650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2" name="Freeform 651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3" name="Freeform 652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4" name="Freeform 653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5" name="Freeform 654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6" name="Freeform 655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57" name="Freeform 656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60" name="Freeform 659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12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137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622800"/>
            <a:ext cx="10933200" cy="4708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6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823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09443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 flipV="1">
            <a:off x="5020044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tx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tx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2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749760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91440" rIns="4572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127599" y="1544274"/>
            <a:ext cx="3452400" cy="1495794"/>
          </a:xfrm>
        </p:spPr>
        <p:txBody>
          <a:bodyPr lIns="320040" rIns="320040"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3200" kern="1200" dirty="0" smtClean="0">
                <a:solidFill>
                  <a:schemeClr val="tx2"/>
                </a:solidFill>
                <a:latin typeface="DIN Next LT Arabic Light" panose="020B0303020203050203" pitchFamily="34" charset="-78"/>
                <a:ea typeface="+mj-ea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0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61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284742" y="2668041"/>
            <a:ext cx="9620491" cy="3201026"/>
          </a:xfrm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137160" rIns="274320" bIns="137160"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957561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25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386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5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800"/>
            <a:ext cx="10936800" cy="20412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9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94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white">
          <a:xfrm flipH="1">
            <a:off x="811249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695540" y="0"/>
            <a:ext cx="416951" cy="6858000"/>
          </a:xfrm>
          <a:prstGeom prst="rect">
            <a:avLst/>
          </a:prstGeom>
        </p:spPr>
      </p:pic>
      <p:sp>
        <p:nvSpPr>
          <p:cNvPr id="13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35469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50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36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609443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 flipV="1">
            <a:off x="5020044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48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365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35468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1123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>
            <a:off x="0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Date Placeholder 1"/>
          <p:cNvSpPr>
            <a:spLocks noGrp="1"/>
          </p:cNvSpPr>
          <p:nvPr userDrawn="1">
            <p:ph type="dt" sz="half" idx="29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69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 flipH="1">
            <a:off x="0" y="0"/>
            <a:ext cx="6502418" cy="6858000"/>
            <a:chOff x="5689582" y="0"/>
            <a:chExt cx="6502418" cy="68580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5689582" y="0"/>
              <a:ext cx="416951" cy="6858000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6096000" y="0"/>
              <a:ext cx="6096000" cy="6858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174950" y="1785600"/>
            <a:ext cx="4388400" cy="3286800"/>
          </a:xfrm>
        </p:spPr>
        <p:txBody>
          <a:bodyPr rIns="32004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8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47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826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 flipH="1">
            <a:off x="0" y="0"/>
            <a:ext cx="4782151" cy="6858000"/>
            <a:chOff x="7409849" y="0"/>
            <a:chExt cx="4782151" cy="6858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7409849" y="0"/>
              <a:ext cx="416951" cy="6858000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 bwMode="gray">
            <a:xfrm>
              <a:off x="7819543" y="0"/>
              <a:ext cx="437245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372457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315798" y="1804650"/>
            <a:ext cx="6247552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0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328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 flipH="1">
            <a:off x="8103689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95833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8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55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 flipH="1">
            <a:off x="8103689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21480000" flipH="1">
            <a:off x="7322693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9084712" y="2764203"/>
            <a:ext cx="2478638" cy="1314311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348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35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35468" y="2681103"/>
            <a:ext cx="3127881" cy="1495794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>
            <a:off x="811123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 flipH="1">
            <a:off x="0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2" name="Date Placeholder 1"/>
          <p:cNvSpPr>
            <a:spLocks noGrp="1"/>
          </p:cNvSpPr>
          <p:nvPr userDrawn="1">
            <p:ph type="dt" sz="half" idx="29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124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4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11901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7501115" y="1785600"/>
            <a:ext cx="4062235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37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96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 flipH="1">
            <a:off x="6765080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 flipH="1">
            <a:off x="5919276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501115" y="1785600"/>
            <a:ext cx="4062235" cy="3286800"/>
          </a:xfrm>
        </p:spPr>
        <p:txBody>
          <a:bodyPr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9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3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28944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ate Placeholder 7"/>
          <p:cNvSpPr>
            <a:spLocks noGrp="1"/>
          </p:cNvSpPr>
          <p:nvPr userDrawn="1">
            <p:ph type="dt" sz="half" idx="16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889702" y="622800"/>
            <a:ext cx="4673646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64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330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 flipH="1">
            <a:off x="5828454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503716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889703" y="622800"/>
            <a:ext cx="4673646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64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91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36411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5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761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 flipH="1">
            <a:off x="374576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21480000" flipH="1">
            <a:off x="2929706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306550" y="622800"/>
            <a:ext cx="62568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21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52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4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0088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0630512" y="625475"/>
            <a:ext cx="932688" cy="932688"/>
          </a:xfrm>
          <a:prstGeom prst="rect">
            <a:avLst/>
          </a:prstGeom>
          <a:noFill/>
          <a:ln>
            <a:solidFill>
              <a:srgbClr val="177C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826333"/>
            <a:ext cx="10933200" cy="160655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15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357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5400000">
            <a:off x="4625282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808080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3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34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>
          <a:xfrm flipH="1">
            <a:off x="11668126" y="654358"/>
            <a:ext cx="222607" cy="87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15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 flipH="1">
            <a:off x="0" y="0"/>
            <a:ext cx="6502418" cy="6858000"/>
            <a:chOff x="5689582" y="0"/>
            <a:chExt cx="6502418" cy="6858000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98" t="8741" r="101" b="27"/>
            <a:stretch/>
          </p:blipFill>
          <p:spPr bwMode="ltGray">
            <a:xfrm flipH="1">
              <a:off x="5689582" y="0"/>
              <a:ext cx="416951" cy="6858000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6096000" y="0"/>
              <a:ext cx="6096000" cy="6858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7174950" y="1785600"/>
            <a:ext cx="4388400" cy="3286800"/>
          </a:xfrm>
        </p:spPr>
        <p:txBody>
          <a:bodyPr rIns="32004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aseline="0">
                <a:solidFill>
                  <a:srgbClr val="FFFFFF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schemeClr val="bg1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34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8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02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310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7" name="TextBox 6"/>
          <p:cNvSpPr txBox="1"/>
          <p:nvPr userDrawn="1"/>
        </p:nvSpPr>
        <p:spPr bwMode="white"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28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8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3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1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248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5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" name="Group 90"/>
          <p:cNvGrpSpPr/>
          <p:nvPr userDrawn="1"/>
        </p:nvGrpSpPr>
        <p:grpSpPr>
          <a:xfrm>
            <a:off x="564743" y="2405314"/>
            <a:ext cx="5304471" cy="2047372"/>
            <a:chOff x="7560629" y="301573"/>
            <a:chExt cx="4018463" cy="1551010"/>
          </a:xfrm>
        </p:grpSpPr>
        <p:pic>
          <p:nvPicPr>
            <p:cNvPr id="92" name="Picture 91"/>
            <p:cNvPicPr>
              <a:picLocks noChangeAspect="1"/>
            </p:cNvPicPr>
            <p:nvPr userDrawn="1"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560629" y="301573"/>
              <a:ext cx="1644331" cy="1551010"/>
            </a:xfrm>
            <a:prstGeom prst="rect">
              <a:avLst/>
            </a:prstGeom>
          </p:spPr>
        </p:pic>
        <p:pic>
          <p:nvPicPr>
            <p:cNvPr id="93" name="Picture 6" descr="Image result for saudi arabia vision 2030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6746" y="470136"/>
              <a:ext cx="1882346" cy="1259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5" name="Group 84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6" name="Oval 85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7" name="Oval 86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2" name="Oval 171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3" name="Oval 172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4" name="Oval 173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5" name="Oval 174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6" name="Oval 175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7" name="Oval 176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8" name="Oval 177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79" name="Oval 178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0" name="Oval 179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1" name="Oval 180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2" name="Oval 181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3" name="Oval 182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4" name="Oval 183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7" name="Oval 196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8" name="Oval 197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1" name="Oval 220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2" name="Oval 221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Oval 244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Freeform 247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5" name="Oval 254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6" name="Oval 255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7" name="Oval 256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773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201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Picture 9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808080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808080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2531986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1. xxxx  2. xxxx  3. xxxx</a:t>
              </a:r>
            </a:p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algn="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7F7F55"/>
                  </a:solidFill>
                  <a:latin typeface="DIN Next LT Arabic Light" panose="020B0303020203050203" pitchFamily="34" charset="-78"/>
                  <a:cs typeface="DIN Next LT Arabic Light" panose="020B0303020203050203" pitchFamily="34" charset="-78"/>
                  <a:sym typeface="DIN Next LT Arabic Light" panose="020B0303020203050203" pitchFamily="34" charset="-78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9905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164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0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6" descr="Image result for saudi arabia vision 203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43" y="615839"/>
            <a:ext cx="1882346" cy="125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00860" y="470136"/>
            <a:ext cx="1644331" cy="1551010"/>
          </a:xfrm>
          <a:prstGeom prst="rect">
            <a:avLst/>
          </a:prstGeom>
        </p:spPr>
      </p:pic>
      <p:sp>
        <p:nvSpPr>
          <p:cNvPr id="255" name="Title 4"/>
          <p:cNvSpPr>
            <a:spLocks noGrp="1"/>
          </p:cNvSpPr>
          <p:nvPr>
            <p:ph type="title" hasCustomPrompt="1"/>
          </p:nvPr>
        </p:nvSpPr>
        <p:spPr>
          <a:xfrm>
            <a:off x="564743" y="2616953"/>
            <a:ext cx="5710342" cy="886397"/>
          </a:xfrm>
        </p:spPr>
        <p:txBody>
          <a:bodyPr anchor="b">
            <a:noAutofit/>
          </a:bodyPr>
          <a:lstStyle>
            <a:lvl1pPr algn="r" rtl="1">
              <a:defRPr sz="3200">
                <a:solidFill>
                  <a:srgbClr val="177C5A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5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64743" y="3650295"/>
            <a:ext cx="5710342" cy="406265"/>
          </a:xfrm>
        </p:spPr>
        <p:txBody>
          <a:bodyPr>
            <a:spAutoFit/>
          </a:bodyPr>
          <a:lstStyle>
            <a:lvl1pPr algn="r" rtl="1">
              <a:defRPr sz="24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5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4743" y="4603520"/>
            <a:ext cx="5710342" cy="270843"/>
          </a:xfrm>
        </p:spPr>
        <p:txBody>
          <a:bodyPr>
            <a:spAutoFit/>
          </a:bodyPr>
          <a:lstStyle>
            <a:lvl1pPr algn="r" rtl="1">
              <a:defRPr sz="160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86" name="Group 85"/>
          <p:cNvGrpSpPr/>
          <p:nvPr userDrawn="1"/>
        </p:nvGrpSpPr>
        <p:grpSpPr>
          <a:xfrm>
            <a:off x="6814693" y="57944"/>
            <a:ext cx="5377307" cy="6800056"/>
            <a:chOff x="6821639" y="57944"/>
            <a:chExt cx="5377307" cy="6800056"/>
          </a:xfrm>
        </p:grpSpPr>
        <p:sp>
          <p:nvSpPr>
            <p:cNvPr id="87" name="Oval 86"/>
            <p:cNvSpPr/>
            <p:nvPr userDrawn="1"/>
          </p:nvSpPr>
          <p:spPr>
            <a:xfrm>
              <a:off x="7977504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8" name="Oval 87"/>
            <p:cNvSpPr/>
            <p:nvPr userDrawn="1"/>
          </p:nvSpPr>
          <p:spPr>
            <a:xfrm>
              <a:off x="820867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89" name="Oval 88"/>
            <p:cNvSpPr/>
            <p:nvPr userDrawn="1"/>
          </p:nvSpPr>
          <p:spPr>
            <a:xfrm>
              <a:off x="8439850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0" name="Oval 89"/>
            <p:cNvSpPr/>
            <p:nvPr userDrawn="1"/>
          </p:nvSpPr>
          <p:spPr>
            <a:xfrm>
              <a:off x="8671023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1" name="Oval 90"/>
            <p:cNvSpPr/>
            <p:nvPr userDrawn="1"/>
          </p:nvSpPr>
          <p:spPr>
            <a:xfrm>
              <a:off x="8902196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2" name="Oval 91"/>
            <p:cNvSpPr/>
            <p:nvPr userDrawn="1"/>
          </p:nvSpPr>
          <p:spPr>
            <a:xfrm>
              <a:off x="9133369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3" name="Oval 92"/>
            <p:cNvSpPr/>
            <p:nvPr userDrawn="1"/>
          </p:nvSpPr>
          <p:spPr>
            <a:xfrm>
              <a:off x="9364542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4" name="Oval 93"/>
            <p:cNvSpPr/>
            <p:nvPr userDrawn="1"/>
          </p:nvSpPr>
          <p:spPr>
            <a:xfrm>
              <a:off x="9595715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5" name="Oval 94"/>
            <p:cNvSpPr/>
            <p:nvPr userDrawn="1"/>
          </p:nvSpPr>
          <p:spPr>
            <a:xfrm>
              <a:off x="9826887" y="579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6" name="Oval 95"/>
            <p:cNvSpPr/>
            <p:nvPr userDrawn="1"/>
          </p:nvSpPr>
          <p:spPr>
            <a:xfrm>
              <a:off x="7977504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7" name="Oval 96"/>
            <p:cNvSpPr/>
            <p:nvPr userDrawn="1"/>
          </p:nvSpPr>
          <p:spPr>
            <a:xfrm>
              <a:off x="820867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8" name="Oval 97"/>
            <p:cNvSpPr/>
            <p:nvPr userDrawn="1"/>
          </p:nvSpPr>
          <p:spPr>
            <a:xfrm>
              <a:off x="8439850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99" name="Oval 98"/>
            <p:cNvSpPr/>
            <p:nvPr userDrawn="1"/>
          </p:nvSpPr>
          <p:spPr>
            <a:xfrm>
              <a:off x="8671023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0" name="Oval 99"/>
            <p:cNvSpPr/>
            <p:nvPr userDrawn="1"/>
          </p:nvSpPr>
          <p:spPr>
            <a:xfrm>
              <a:off x="8902196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1" name="Oval 100"/>
            <p:cNvSpPr/>
            <p:nvPr userDrawn="1"/>
          </p:nvSpPr>
          <p:spPr>
            <a:xfrm>
              <a:off x="9133369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2" name="Oval 101"/>
            <p:cNvSpPr/>
            <p:nvPr userDrawn="1"/>
          </p:nvSpPr>
          <p:spPr>
            <a:xfrm>
              <a:off x="9364542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3" name="Oval 102"/>
            <p:cNvSpPr/>
            <p:nvPr userDrawn="1"/>
          </p:nvSpPr>
          <p:spPr>
            <a:xfrm>
              <a:off x="9595715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4" name="Oval 103"/>
            <p:cNvSpPr/>
            <p:nvPr userDrawn="1"/>
          </p:nvSpPr>
          <p:spPr>
            <a:xfrm>
              <a:off x="9826887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5" name="Oval 104"/>
            <p:cNvSpPr/>
            <p:nvPr userDrawn="1"/>
          </p:nvSpPr>
          <p:spPr>
            <a:xfrm>
              <a:off x="10058058" y="2883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6" name="Oval 105"/>
            <p:cNvSpPr/>
            <p:nvPr userDrawn="1"/>
          </p:nvSpPr>
          <p:spPr>
            <a:xfrm>
              <a:off x="8208677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07" name="Oval 106"/>
            <p:cNvSpPr/>
            <p:nvPr userDrawn="1"/>
          </p:nvSpPr>
          <p:spPr>
            <a:xfrm>
              <a:off x="843985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5" name="Oval 184"/>
            <p:cNvSpPr/>
            <p:nvPr userDrawn="1"/>
          </p:nvSpPr>
          <p:spPr>
            <a:xfrm>
              <a:off x="8671023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6" name="Oval 185"/>
            <p:cNvSpPr/>
            <p:nvPr userDrawn="1"/>
          </p:nvSpPr>
          <p:spPr>
            <a:xfrm>
              <a:off x="8902196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7" name="Oval 186"/>
            <p:cNvSpPr/>
            <p:nvPr userDrawn="1"/>
          </p:nvSpPr>
          <p:spPr>
            <a:xfrm>
              <a:off x="9133369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8" name="Oval 187"/>
            <p:cNvSpPr/>
            <p:nvPr userDrawn="1"/>
          </p:nvSpPr>
          <p:spPr>
            <a:xfrm>
              <a:off x="9364542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89" name="Oval 188"/>
            <p:cNvSpPr/>
            <p:nvPr userDrawn="1"/>
          </p:nvSpPr>
          <p:spPr>
            <a:xfrm>
              <a:off x="9595715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0" name="Oval 189"/>
            <p:cNvSpPr/>
            <p:nvPr userDrawn="1"/>
          </p:nvSpPr>
          <p:spPr>
            <a:xfrm>
              <a:off x="9826888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1" name="Oval 190"/>
            <p:cNvSpPr/>
            <p:nvPr userDrawn="1"/>
          </p:nvSpPr>
          <p:spPr>
            <a:xfrm>
              <a:off x="10058060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2" name="Oval 191"/>
            <p:cNvSpPr/>
            <p:nvPr userDrawn="1"/>
          </p:nvSpPr>
          <p:spPr>
            <a:xfrm>
              <a:off x="10289231" y="5187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3" name="Oval 192"/>
            <p:cNvSpPr/>
            <p:nvPr userDrawn="1"/>
          </p:nvSpPr>
          <p:spPr>
            <a:xfrm>
              <a:off x="774633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4" name="Oval 193"/>
            <p:cNvSpPr/>
            <p:nvPr userDrawn="1"/>
          </p:nvSpPr>
          <p:spPr>
            <a:xfrm>
              <a:off x="797750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5" name="Oval 194"/>
            <p:cNvSpPr/>
            <p:nvPr userDrawn="1"/>
          </p:nvSpPr>
          <p:spPr>
            <a:xfrm>
              <a:off x="8208677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6" name="Oval 195"/>
            <p:cNvSpPr/>
            <p:nvPr userDrawn="1"/>
          </p:nvSpPr>
          <p:spPr>
            <a:xfrm>
              <a:off x="8439851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7" name="Oval 196"/>
            <p:cNvSpPr/>
            <p:nvPr userDrawn="1"/>
          </p:nvSpPr>
          <p:spPr>
            <a:xfrm>
              <a:off x="867102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8" name="Oval 197"/>
            <p:cNvSpPr/>
            <p:nvPr userDrawn="1"/>
          </p:nvSpPr>
          <p:spPr>
            <a:xfrm>
              <a:off x="890219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199" name="Oval 198"/>
            <p:cNvSpPr/>
            <p:nvPr userDrawn="1"/>
          </p:nvSpPr>
          <p:spPr>
            <a:xfrm>
              <a:off x="913337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0" name="Oval 199"/>
            <p:cNvSpPr/>
            <p:nvPr userDrawn="1"/>
          </p:nvSpPr>
          <p:spPr>
            <a:xfrm>
              <a:off x="9364543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1" name="Oval 200"/>
            <p:cNvSpPr/>
            <p:nvPr userDrawn="1"/>
          </p:nvSpPr>
          <p:spPr>
            <a:xfrm>
              <a:off x="959571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2" name="Oval 201"/>
            <p:cNvSpPr/>
            <p:nvPr userDrawn="1"/>
          </p:nvSpPr>
          <p:spPr>
            <a:xfrm>
              <a:off x="9826888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3" name="Oval 202"/>
            <p:cNvSpPr/>
            <p:nvPr userDrawn="1"/>
          </p:nvSpPr>
          <p:spPr>
            <a:xfrm>
              <a:off x="10058060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4" name="Oval 203"/>
            <p:cNvSpPr/>
            <p:nvPr userDrawn="1"/>
          </p:nvSpPr>
          <p:spPr>
            <a:xfrm>
              <a:off x="10289232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5" name="Oval 204"/>
            <p:cNvSpPr/>
            <p:nvPr userDrawn="1"/>
          </p:nvSpPr>
          <p:spPr>
            <a:xfrm>
              <a:off x="10520405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6" name="Oval 205"/>
            <p:cNvSpPr/>
            <p:nvPr userDrawn="1"/>
          </p:nvSpPr>
          <p:spPr>
            <a:xfrm>
              <a:off x="10751579" y="7491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7" name="Oval 206"/>
            <p:cNvSpPr/>
            <p:nvPr userDrawn="1"/>
          </p:nvSpPr>
          <p:spPr>
            <a:xfrm>
              <a:off x="751515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8" name="Oval 207"/>
            <p:cNvSpPr/>
            <p:nvPr userDrawn="1"/>
          </p:nvSpPr>
          <p:spPr>
            <a:xfrm>
              <a:off x="774632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09" name="Oval 208"/>
            <p:cNvSpPr/>
            <p:nvPr userDrawn="1"/>
          </p:nvSpPr>
          <p:spPr>
            <a:xfrm>
              <a:off x="797750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0" name="Oval 209"/>
            <p:cNvSpPr/>
            <p:nvPr userDrawn="1"/>
          </p:nvSpPr>
          <p:spPr>
            <a:xfrm>
              <a:off x="820867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1" name="Oval 210"/>
            <p:cNvSpPr/>
            <p:nvPr userDrawn="1"/>
          </p:nvSpPr>
          <p:spPr>
            <a:xfrm>
              <a:off x="843984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2" name="Oval 211"/>
            <p:cNvSpPr/>
            <p:nvPr userDrawn="1"/>
          </p:nvSpPr>
          <p:spPr>
            <a:xfrm>
              <a:off x="8671021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3" name="Oval 212"/>
            <p:cNvSpPr/>
            <p:nvPr userDrawn="1"/>
          </p:nvSpPr>
          <p:spPr>
            <a:xfrm>
              <a:off x="8902194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4" name="Oval 213"/>
            <p:cNvSpPr/>
            <p:nvPr userDrawn="1"/>
          </p:nvSpPr>
          <p:spPr>
            <a:xfrm>
              <a:off x="9133367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5" name="Oval 214"/>
            <p:cNvSpPr/>
            <p:nvPr userDrawn="1"/>
          </p:nvSpPr>
          <p:spPr>
            <a:xfrm>
              <a:off x="9364540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6" name="Oval 215"/>
            <p:cNvSpPr/>
            <p:nvPr userDrawn="1"/>
          </p:nvSpPr>
          <p:spPr>
            <a:xfrm>
              <a:off x="9595713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7" name="Oval 216"/>
            <p:cNvSpPr/>
            <p:nvPr userDrawn="1"/>
          </p:nvSpPr>
          <p:spPr>
            <a:xfrm>
              <a:off x="9826886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8" name="Oval 217"/>
            <p:cNvSpPr/>
            <p:nvPr userDrawn="1"/>
          </p:nvSpPr>
          <p:spPr>
            <a:xfrm>
              <a:off x="1005805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19" name="Oval 218"/>
            <p:cNvSpPr/>
            <p:nvPr userDrawn="1"/>
          </p:nvSpPr>
          <p:spPr>
            <a:xfrm>
              <a:off x="10289232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0" name="Oval 219"/>
            <p:cNvSpPr/>
            <p:nvPr userDrawn="1"/>
          </p:nvSpPr>
          <p:spPr>
            <a:xfrm>
              <a:off x="10520405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1" name="Oval 220"/>
            <p:cNvSpPr/>
            <p:nvPr userDrawn="1"/>
          </p:nvSpPr>
          <p:spPr>
            <a:xfrm>
              <a:off x="10751578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2" name="Oval 221"/>
            <p:cNvSpPr/>
            <p:nvPr userDrawn="1"/>
          </p:nvSpPr>
          <p:spPr>
            <a:xfrm>
              <a:off x="10982749" y="97949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3" name="Oval 222"/>
            <p:cNvSpPr/>
            <p:nvPr userDrawn="1"/>
          </p:nvSpPr>
          <p:spPr>
            <a:xfrm>
              <a:off x="751515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4" name="Oval 223"/>
            <p:cNvSpPr/>
            <p:nvPr userDrawn="1"/>
          </p:nvSpPr>
          <p:spPr>
            <a:xfrm>
              <a:off x="774632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5" name="Oval 224"/>
            <p:cNvSpPr/>
            <p:nvPr userDrawn="1"/>
          </p:nvSpPr>
          <p:spPr>
            <a:xfrm>
              <a:off x="797750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6" name="Oval 225"/>
            <p:cNvSpPr/>
            <p:nvPr userDrawn="1"/>
          </p:nvSpPr>
          <p:spPr>
            <a:xfrm>
              <a:off x="820867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7" name="Oval 226"/>
            <p:cNvSpPr/>
            <p:nvPr userDrawn="1"/>
          </p:nvSpPr>
          <p:spPr>
            <a:xfrm>
              <a:off x="843984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8" name="Oval 227"/>
            <p:cNvSpPr/>
            <p:nvPr userDrawn="1"/>
          </p:nvSpPr>
          <p:spPr>
            <a:xfrm>
              <a:off x="86710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29" name="Oval 228"/>
            <p:cNvSpPr/>
            <p:nvPr userDrawn="1"/>
          </p:nvSpPr>
          <p:spPr>
            <a:xfrm>
              <a:off x="89021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0" name="Oval 229"/>
            <p:cNvSpPr/>
            <p:nvPr userDrawn="1"/>
          </p:nvSpPr>
          <p:spPr>
            <a:xfrm>
              <a:off x="9133367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1" name="Oval 230"/>
            <p:cNvSpPr/>
            <p:nvPr userDrawn="1"/>
          </p:nvSpPr>
          <p:spPr>
            <a:xfrm>
              <a:off x="9364540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2" name="Oval 231"/>
            <p:cNvSpPr/>
            <p:nvPr userDrawn="1"/>
          </p:nvSpPr>
          <p:spPr>
            <a:xfrm>
              <a:off x="959571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3" name="Oval 232"/>
            <p:cNvSpPr/>
            <p:nvPr userDrawn="1"/>
          </p:nvSpPr>
          <p:spPr>
            <a:xfrm>
              <a:off x="982688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4" name="Oval 233"/>
            <p:cNvSpPr/>
            <p:nvPr userDrawn="1"/>
          </p:nvSpPr>
          <p:spPr>
            <a:xfrm>
              <a:off x="1005805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5" name="Oval 234"/>
            <p:cNvSpPr/>
            <p:nvPr userDrawn="1"/>
          </p:nvSpPr>
          <p:spPr>
            <a:xfrm>
              <a:off x="10289232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6" name="Oval 235"/>
            <p:cNvSpPr/>
            <p:nvPr userDrawn="1"/>
          </p:nvSpPr>
          <p:spPr>
            <a:xfrm>
              <a:off x="10520405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7" name="Oval 236"/>
            <p:cNvSpPr/>
            <p:nvPr userDrawn="1"/>
          </p:nvSpPr>
          <p:spPr>
            <a:xfrm>
              <a:off x="10751578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8" name="Oval 237"/>
            <p:cNvSpPr/>
            <p:nvPr userDrawn="1"/>
          </p:nvSpPr>
          <p:spPr>
            <a:xfrm>
              <a:off x="1098274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39" name="Oval 238"/>
            <p:cNvSpPr/>
            <p:nvPr userDrawn="1"/>
          </p:nvSpPr>
          <p:spPr>
            <a:xfrm>
              <a:off x="7283983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0" name="Oval 239"/>
            <p:cNvSpPr/>
            <p:nvPr userDrawn="1"/>
          </p:nvSpPr>
          <p:spPr>
            <a:xfrm>
              <a:off x="705281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1" name="Oval 240"/>
            <p:cNvSpPr/>
            <p:nvPr userDrawn="1"/>
          </p:nvSpPr>
          <p:spPr>
            <a:xfrm>
              <a:off x="11213921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2" name="Oval 241"/>
            <p:cNvSpPr/>
            <p:nvPr userDrawn="1"/>
          </p:nvSpPr>
          <p:spPr>
            <a:xfrm>
              <a:off x="11445094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3" name="Oval 242"/>
            <p:cNvSpPr/>
            <p:nvPr userDrawn="1"/>
          </p:nvSpPr>
          <p:spPr>
            <a:xfrm>
              <a:off x="11676266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4" name="Oval 243"/>
            <p:cNvSpPr/>
            <p:nvPr userDrawn="1"/>
          </p:nvSpPr>
          <p:spPr>
            <a:xfrm>
              <a:off x="11907439" y="120988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5" name="Freeform 244"/>
            <p:cNvSpPr/>
            <p:nvPr userDrawn="1"/>
          </p:nvSpPr>
          <p:spPr>
            <a:xfrm>
              <a:off x="12138610" y="121156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6" name="Oval 245"/>
            <p:cNvSpPr/>
            <p:nvPr userDrawn="1"/>
          </p:nvSpPr>
          <p:spPr>
            <a:xfrm>
              <a:off x="751515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7" name="Oval 246"/>
            <p:cNvSpPr/>
            <p:nvPr userDrawn="1"/>
          </p:nvSpPr>
          <p:spPr>
            <a:xfrm>
              <a:off x="774632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8" name="Oval 247"/>
            <p:cNvSpPr/>
            <p:nvPr userDrawn="1"/>
          </p:nvSpPr>
          <p:spPr>
            <a:xfrm>
              <a:off x="797750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49" name="Oval 248"/>
            <p:cNvSpPr/>
            <p:nvPr userDrawn="1"/>
          </p:nvSpPr>
          <p:spPr>
            <a:xfrm>
              <a:off x="820867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0" name="Oval 249"/>
            <p:cNvSpPr/>
            <p:nvPr userDrawn="1"/>
          </p:nvSpPr>
          <p:spPr>
            <a:xfrm>
              <a:off x="843984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1" name="Oval 250"/>
            <p:cNvSpPr/>
            <p:nvPr userDrawn="1"/>
          </p:nvSpPr>
          <p:spPr>
            <a:xfrm>
              <a:off x="86710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2" name="Oval 251"/>
            <p:cNvSpPr/>
            <p:nvPr userDrawn="1"/>
          </p:nvSpPr>
          <p:spPr>
            <a:xfrm>
              <a:off x="89021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3" name="Oval 252"/>
            <p:cNvSpPr/>
            <p:nvPr userDrawn="1"/>
          </p:nvSpPr>
          <p:spPr>
            <a:xfrm>
              <a:off x="9133367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4" name="Oval 253"/>
            <p:cNvSpPr/>
            <p:nvPr userDrawn="1"/>
          </p:nvSpPr>
          <p:spPr>
            <a:xfrm>
              <a:off x="9364540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8" name="Oval 257"/>
            <p:cNvSpPr/>
            <p:nvPr userDrawn="1"/>
          </p:nvSpPr>
          <p:spPr>
            <a:xfrm>
              <a:off x="959571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59" name="Oval 258"/>
            <p:cNvSpPr/>
            <p:nvPr userDrawn="1"/>
          </p:nvSpPr>
          <p:spPr>
            <a:xfrm>
              <a:off x="982688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0" name="Oval 259"/>
            <p:cNvSpPr/>
            <p:nvPr userDrawn="1"/>
          </p:nvSpPr>
          <p:spPr>
            <a:xfrm>
              <a:off x="1005805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1" name="Oval 260"/>
            <p:cNvSpPr/>
            <p:nvPr userDrawn="1"/>
          </p:nvSpPr>
          <p:spPr>
            <a:xfrm>
              <a:off x="10289232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2" name="Oval 261"/>
            <p:cNvSpPr/>
            <p:nvPr userDrawn="1"/>
          </p:nvSpPr>
          <p:spPr>
            <a:xfrm>
              <a:off x="10520405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3" name="Oval 262"/>
            <p:cNvSpPr/>
            <p:nvPr userDrawn="1"/>
          </p:nvSpPr>
          <p:spPr>
            <a:xfrm>
              <a:off x="10751578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4" name="Oval 263"/>
            <p:cNvSpPr/>
            <p:nvPr userDrawn="1"/>
          </p:nvSpPr>
          <p:spPr>
            <a:xfrm>
              <a:off x="1098274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5" name="Oval 264"/>
            <p:cNvSpPr/>
            <p:nvPr userDrawn="1"/>
          </p:nvSpPr>
          <p:spPr>
            <a:xfrm>
              <a:off x="7283983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6" name="Oval 265"/>
            <p:cNvSpPr/>
            <p:nvPr userDrawn="1"/>
          </p:nvSpPr>
          <p:spPr>
            <a:xfrm>
              <a:off x="705281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7" name="Oval 266"/>
            <p:cNvSpPr/>
            <p:nvPr userDrawn="1"/>
          </p:nvSpPr>
          <p:spPr>
            <a:xfrm>
              <a:off x="11213921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8" name="Oval 267"/>
            <p:cNvSpPr/>
            <p:nvPr userDrawn="1"/>
          </p:nvSpPr>
          <p:spPr>
            <a:xfrm>
              <a:off x="11445094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69" name="Oval 268"/>
            <p:cNvSpPr/>
            <p:nvPr userDrawn="1"/>
          </p:nvSpPr>
          <p:spPr>
            <a:xfrm>
              <a:off x="11676266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0" name="Oval 269"/>
            <p:cNvSpPr/>
            <p:nvPr userDrawn="1"/>
          </p:nvSpPr>
          <p:spPr>
            <a:xfrm>
              <a:off x="11907439" y="144027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1" name="Oval 270"/>
            <p:cNvSpPr/>
            <p:nvPr userDrawn="1"/>
          </p:nvSpPr>
          <p:spPr>
            <a:xfrm>
              <a:off x="751515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2" name="Oval 271"/>
            <p:cNvSpPr/>
            <p:nvPr userDrawn="1"/>
          </p:nvSpPr>
          <p:spPr>
            <a:xfrm>
              <a:off x="774632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3" name="Oval 272"/>
            <p:cNvSpPr/>
            <p:nvPr userDrawn="1"/>
          </p:nvSpPr>
          <p:spPr>
            <a:xfrm>
              <a:off x="797750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4" name="Oval 273"/>
            <p:cNvSpPr/>
            <p:nvPr userDrawn="1"/>
          </p:nvSpPr>
          <p:spPr>
            <a:xfrm>
              <a:off x="820867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5" name="Oval 274"/>
            <p:cNvSpPr/>
            <p:nvPr userDrawn="1"/>
          </p:nvSpPr>
          <p:spPr>
            <a:xfrm>
              <a:off x="843984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6" name="Oval 275"/>
            <p:cNvSpPr/>
            <p:nvPr userDrawn="1"/>
          </p:nvSpPr>
          <p:spPr>
            <a:xfrm>
              <a:off x="86710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7" name="Oval 276"/>
            <p:cNvSpPr/>
            <p:nvPr userDrawn="1"/>
          </p:nvSpPr>
          <p:spPr>
            <a:xfrm>
              <a:off x="89021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8" name="Oval 277"/>
            <p:cNvSpPr/>
            <p:nvPr userDrawn="1"/>
          </p:nvSpPr>
          <p:spPr>
            <a:xfrm>
              <a:off x="9133367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79" name="Oval 278"/>
            <p:cNvSpPr/>
            <p:nvPr userDrawn="1"/>
          </p:nvSpPr>
          <p:spPr>
            <a:xfrm>
              <a:off x="9364540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0" name="Oval 279"/>
            <p:cNvSpPr/>
            <p:nvPr userDrawn="1"/>
          </p:nvSpPr>
          <p:spPr>
            <a:xfrm>
              <a:off x="959571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1" name="Oval 280"/>
            <p:cNvSpPr/>
            <p:nvPr userDrawn="1"/>
          </p:nvSpPr>
          <p:spPr>
            <a:xfrm>
              <a:off x="982688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2" name="Oval 281"/>
            <p:cNvSpPr/>
            <p:nvPr userDrawn="1"/>
          </p:nvSpPr>
          <p:spPr>
            <a:xfrm>
              <a:off x="1005805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3" name="Oval 282"/>
            <p:cNvSpPr/>
            <p:nvPr userDrawn="1"/>
          </p:nvSpPr>
          <p:spPr>
            <a:xfrm>
              <a:off x="10289232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4" name="Oval 283"/>
            <p:cNvSpPr/>
            <p:nvPr userDrawn="1"/>
          </p:nvSpPr>
          <p:spPr>
            <a:xfrm>
              <a:off x="10520405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5" name="Oval 284"/>
            <p:cNvSpPr/>
            <p:nvPr userDrawn="1"/>
          </p:nvSpPr>
          <p:spPr>
            <a:xfrm>
              <a:off x="10751578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6" name="Oval 285"/>
            <p:cNvSpPr/>
            <p:nvPr userDrawn="1"/>
          </p:nvSpPr>
          <p:spPr>
            <a:xfrm>
              <a:off x="1098274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7" name="Oval 286"/>
            <p:cNvSpPr/>
            <p:nvPr userDrawn="1"/>
          </p:nvSpPr>
          <p:spPr>
            <a:xfrm>
              <a:off x="7283983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8" name="Oval 287"/>
            <p:cNvSpPr/>
            <p:nvPr userDrawn="1"/>
          </p:nvSpPr>
          <p:spPr>
            <a:xfrm>
              <a:off x="705281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89" name="Oval 288"/>
            <p:cNvSpPr/>
            <p:nvPr userDrawn="1"/>
          </p:nvSpPr>
          <p:spPr>
            <a:xfrm>
              <a:off x="11213921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0" name="Oval 289"/>
            <p:cNvSpPr/>
            <p:nvPr userDrawn="1"/>
          </p:nvSpPr>
          <p:spPr>
            <a:xfrm>
              <a:off x="11445094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1" name="Oval 290"/>
            <p:cNvSpPr/>
            <p:nvPr userDrawn="1"/>
          </p:nvSpPr>
          <p:spPr>
            <a:xfrm>
              <a:off x="11676266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2" name="Oval 291"/>
            <p:cNvSpPr/>
            <p:nvPr userDrawn="1"/>
          </p:nvSpPr>
          <p:spPr>
            <a:xfrm>
              <a:off x="119074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3" name="Oval 292"/>
            <p:cNvSpPr/>
            <p:nvPr userDrawn="1"/>
          </p:nvSpPr>
          <p:spPr>
            <a:xfrm>
              <a:off x="6821639" y="167066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4" name="Oval 293"/>
            <p:cNvSpPr/>
            <p:nvPr userDrawn="1"/>
          </p:nvSpPr>
          <p:spPr>
            <a:xfrm>
              <a:off x="751515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5" name="Oval 294"/>
            <p:cNvSpPr/>
            <p:nvPr userDrawn="1"/>
          </p:nvSpPr>
          <p:spPr>
            <a:xfrm>
              <a:off x="774632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6" name="Oval 295"/>
            <p:cNvSpPr/>
            <p:nvPr userDrawn="1"/>
          </p:nvSpPr>
          <p:spPr>
            <a:xfrm>
              <a:off x="797750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7" name="Oval 296"/>
            <p:cNvSpPr/>
            <p:nvPr userDrawn="1"/>
          </p:nvSpPr>
          <p:spPr>
            <a:xfrm>
              <a:off x="820867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8" name="Oval 297"/>
            <p:cNvSpPr/>
            <p:nvPr userDrawn="1"/>
          </p:nvSpPr>
          <p:spPr>
            <a:xfrm>
              <a:off x="843984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299" name="Oval 298"/>
            <p:cNvSpPr/>
            <p:nvPr userDrawn="1"/>
          </p:nvSpPr>
          <p:spPr>
            <a:xfrm>
              <a:off x="86710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0" name="Oval 299"/>
            <p:cNvSpPr/>
            <p:nvPr userDrawn="1"/>
          </p:nvSpPr>
          <p:spPr>
            <a:xfrm>
              <a:off x="89021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1" name="Oval 300"/>
            <p:cNvSpPr/>
            <p:nvPr userDrawn="1"/>
          </p:nvSpPr>
          <p:spPr>
            <a:xfrm>
              <a:off x="9133367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2" name="Oval 301"/>
            <p:cNvSpPr/>
            <p:nvPr userDrawn="1"/>
          </p:nvSpPr>
          <p:spPr>
            <a:xfrm>
              <a:off x="9364540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3" name="Oval 302"/>
            <p:cNvSpPr/>
            <p:nvPr userDrawn="1"/>
          </p:nvSpPr>
          <p:spPr>
            <a:xfrm>
              <a:off x="959571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4" name="Oval 303"/>
            <p:cNvSpPr/>
            <p:nvPr userDrawn="1"/>
          </p:nvSpPr>
          <p:spPr>
            <a:xfrm>
              <a:off x="982688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5" name="Oval 304"/>
            <p:cNvSpPr/>
            <p:nvPr userDrawn="1"/>
          </p:nvSpPr>
          <p:spPr>
            <a:xfrm>
              <a:off x="1005805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6" name="Oval 305"/>
            <p:cNvSpPr/>
            <p:nvPr userDrawn="1"/>
          </p:nvSpPr>
          <p:spPr>
            <a:xfrm>
              <a:off x="10289232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7" name="Oval 306"/>
            <p:cNvSpPr/>
            <p:nvPr userDrawn="1"/>
          </p:nvSpPr>
          <p:spPr>
            <a:xfrm>
              <a:off x="10520405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8" name="Oval 307"/>
            <p:cNvSpPr/>
            <p:nvPr userDrawn="1"/>
          </p:nvSpPr>
          <p:spPr>
            <a:xfrm>
              <a:off x="10751578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09" name="Oval 308"/>
            <p:cNvSpPr/>
            <p:nvPr userDrawn="1"/>
          </p:nvSpPr>
          <p:spPr>
            <a:xfrm>
              <a:off x="1098274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0" name="Oval 309"/>
            <p:cNvSpPr/>
            <p:nvPr userDrawn="1"/>
          </p:nvSpPr>
          <p:spPr>
            <a:xfrm>
              <a:off x="7283983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1" name="Oval 310"/>
            <p:cNvSpPr/>
            <p:nvPr userDrawn="1"/>
          </p:nvSpPr>
          <p:spPr>
            <a:xfrm>
              <a:off x="11213921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2" name="Oval 311"/>
            <p:cNvSpPr/>
            <p:nvPr userDrawn="1"/>
          </p:nvSpPr>
          <p:spPr>
            <a:xfrm>
              <a:off x="11445094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3" name="Oval 312"/>
            <p:cNvSpPr/>
            <p:nvPr userDrawn="1"/>
          </p:nvSpPr>
          <p:spPr>
            <a:xfrm>
              <a:off x="11676266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4" name="Oval 313"/>
            <p:cNvSpPr/>
            <p:nvPr userDrawn="1"/>
          </p:nvSpPr>
          <p:spPr>
            <a:xfrm>
              <a:off x="11907439" y="190104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5" name="Oval 314"/>
            <p:cNvSpPr/>
            <p:nvPr userDrawn="1"/>
          </p:nvSpPr>
          <p:spPr>
            <a:xfrm>
              <a:off x="751515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6" name="Oval 315"/>
            <p:cNvSpPr/>
            <p:nvPr userDrawn="1"/>
          </p:nvSpPr>
          <p:spPr>
            <a:xfrm>
              <a:off x="774632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7" name="Oval 316"/>
            <p:cNvSpPr/>
            <p:nvPr userDrawn="1"/>
          </p:nvSpPr>
          <p:spPr>
            <a:xfrm>
              <a:off x="797750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8" name="Oval 317"/>
            <p:cNvSpPr/>
            <p:nvPr userDrawn="1"/>
          </p:nvSpPr>
          <p:spPr>
            <a:xfrm>
              <a:off x="820867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19" name="Oval 318"/>
            <p:cNvSpPr/>
            <p:nvPr userDrawn="1"/>
          </p:nvSpPr>
          <p:spPr>
            <a:xfrm>
              <a:off x="843984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0" name="Oval 319"/>
            <p:cNvSpPr/>
            <p:nvPr userDrawn="1"/>
          </p:nvSpPr>
          <p:spPr>
            <a:xfrm>
              <a:off x="86710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1" name="Oval 320"/>
            <p:cNvSpPr/>
            <p:nvPr userDrawn="1"/>
          </p:nvSpPr>
          <p:spPr>
            <a:xfrm>
              <a:off x="89021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2" name="Oval 321"/>
            <p:cNvSpPr/>
            <p:nvPr userDrawn="1"/>
          </p:nvSpPr>
          <p:spPr>
            <a:xfrm>
              <a:off x="9133367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3" name="Oval 322"/>
            <p:cNvSpPr/>
            <p:nvPr userDrawn="1"/>
          </p:nvSpPr>
          <p:spPr>
            <a:xfrm>
              <a:off x="9364540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4" name="Oval 323"/>
            <p:cNvSpPr/>
            <p:nvPr userDrawn="1"/>
          </p:nvSpPr>
          <p:spPr>
            <a:xfrm>
              <a:off x="9595713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5" name="Oval 324"/>
            <p:cNvSpPr/>
            <p:nvPr userDrawn="1"/>
          </p:nvSpPr>
          <p:spPr>
            <a:xfrm>
              <a:off x="982688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6" name="Oval 325"/>
            <p:cNvSpPr/>
            <p:nvPr userDrawn="1"/>
          </p:nvSpPr>
          <p:spPr>
            <a:xfrm>
              <a:off x="1005805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7" name="Oval 326"/>
            <p:cNvSpPr/>
            <p:nvPr userDrawn="1"/>
          </p:nvSpPr>
          <p:spPr>
            <a:xfrm>
              <a:off x="10289232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8" name="Oval 327"/>
            <p:cNvSpPr/>
            <p:nvPr userDrawn="1"/>
          </p:nvSpPr>
          <p:spPr>
            <a:xfrm>
              <a:off x="10520405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29" name="Oval 328"/>
            <p:cNvSpPr/>
            <p:nvPr userDrawn="1"/>
          </p:nvSpPr>
          <p:spPr>
            <a:xfrm>
              <a:off x="10751578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0" name="Oval 329"/>
            <p:cNvSpPr/>
            <p:nvPr userDrawn="1"/>
          </p:nvSpPr>
          <p:spPr>
            <a:xfrm>
              <a:off x="1098274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1" name="Oval 330"/>
            <p:cNvSpPr/>
            <p:nvPr userDrawn="1"/>
          </p:nvSpPr>
          <p:spPr>
            <a:xfrm>
              <a:off x="11213921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2" name="Oval 331"/>
            <p:cNvSpPr/>
            <p:nvPr userDrawn="1"/>
          </p:nvSpPr>
          <p:spPr>
            <a:xfrm>
              <a:off x="11445094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3" name="Oval 332"/>
            <p:cNvSpPr/>
            <p:nvPr userDrawn="1"/>
          </p:nvSpPr>
          <p:spPr>
            <a:xfrm>
              <a:off x="11676266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4" name="Oval 333"/>
            <p:cNvSpPr/>
            <p:nvPr userDrawn="1"/>
          </p:nvSpPr>
          <p:spPr>
            <a:xfrm>
              <a:off x="11907439" y="213143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5" name="Oval 334"/>
            <p:cNvSpPr/>
            <p:nvPr userDrawn="1"/>
          </p:nvSpPr>
          <p:spPr>
            <a:xfrm>
              <a:off x="774632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6" name="Oval 335"/>
            <p:cNvSpPr/>
            <p:nvPr userDrawn="1"/>
          </p:nvSpPr>
          <p:spPr>
            <a:xfrm>
              <a:off x="797750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7" name="Oval 336"/>
            <p:cNvSpPr/>
            <p:nvPr userDrawn="1"/>
          </p:nvSpPr>
          <p:spPr>
            <a:xfrm>
              <a:off x="820867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8" name="Oval 337"/>
            <p:cNvSpPr/>
            <p:nvPr userDrawn="1"/>
          </p:nvSpPr>
          <p:spPr>
            <a:xfrm>
              <a:off x="843984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39" name="Oval 338"/>
            <p:cNvSpPr/>
            <p:nvPr userDrawn="1"/>
          </p:nvSpPr>
          <p:spPr>
            <a:xfrm>
              <a:off x="86710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0" name="Oval 339"/>
            <p:cNvSpPr/>
            <p:nvPr userDrawn="1"/>
          </p:nvSpPr>
          <p:spPr>
            <a:xfrm>
              <a:off x="89021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1" name="Oval 340"/>
            <p:cNvSpPr/>
            <p:nvPr userDrawn="1"/>
          </p:nvSpPr>
          <p:spPr>
            <a:xfrm>
              <a:off x="9133367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2" name="Oval 341"/>
            <p:cNvSpPr/>
            <p:nvPr userDrawn="1"/>
          </p:nvSpPr>
          <p:spPr>
            <a:xfrm>
              <a:off x="9364540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3" name="Oval 342"/>
            <p:cNvSpPr/>
            <p:nvPr userDrawn="1"/>
          </p:nvSpPr>
          <p:spPr>
            <a:xfrm>
              <a:off x="9595713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4" name="Oval 343"/>
            <p:cNvSpPr/>
            <p:nvPr userDrawn="1"/>
          </p:nvSpPr>
          <p:spPr>
            <a:xfrm>
              <a:off x="982688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5" name="Oval 344"/>
            <p:cNvSpPr/>
            <p:nvPr userDrawn="1"/>
          </p:nvSpPr>
          <p:spPr>
            <a:xfrm>
              <a:off x="1005805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6" name="Oval 345"/>
            <p:cNvSpPr/>
            <p:nvPr userDrawn="1"/>
          </p:nvSpPr>
          <p:spPr>
            <a:xfrm>
              <a:off x="10289232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7" name="Oval 346"/>
            <p:cNvSpPr/>
            <p:nvPr userDrawn="1"/>
          </p:nvSpPr>
          <p:spPr>
            <a:xfrm>
              <a:off x="10520405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8" name="Oval 347"/>
            <p:cNvSpPr/>
            <p:nvPr userDrawn="1"/>
          </p:nvSpPr>
          <p:spPr>
            <a:xfrm>
              <a:off x="10751578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49" name="Oval 348"/>
            <p:cNvSpPr/>
            <p:nvPr userDrawn="1"/>
          </p:nvSpPr>
          <p:spPr>
            <a:xfrm>
              <a:off x="1098274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0" name="Oval 349"/>
            <p:cNvSpPr/>
            <p:nvPr userDrawn="1"/>
          </p:nvSpPr>
          <p:spPr>
            <a:xfrm>
              <a:off x="11213921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1" name="Oval 350"/>
            <p:cNvSpPr/>
            <p:nvPr userDrawn="1"/>
          </p:nvSpPr>
          <p:spPr>
            <a:xfrm>
              <a:off x="11445094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2" name="Oval 351"/>
            <p:cNvSpPr/>
            <p:nvPr userDrawn="1"/>
          </p:nvSpPr>
          <p:spPr>
            <a:xfrm>
              <a:off x="11676266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3" name="Oval 352"/>
            <p:cNvSpPr/>
            <p:nvPr userDrawn="1"/>
          </p:nvSpPr>
          <p:spPr>
            <a:xfrm>
              <a:off x="11907439" y="236182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4" name="Oval 353"/>
            <p:cNvSpPr/>
            <p:nvPr userDrawn="1"/>
          </p:nvSpPr>
          <p:spPr>
            <a:xfrm>
              <a:off x="774632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5" name="Oval 354"/>
            <p:cNvSpPr/>
            <p:nvPr userDrawn="1"/>
          </p:nvSpPr>
          <p:spPr>
            <a:xfrm>
              <a:off x="797750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6" name="Oval 355"/>
            <p:cNvSpPr/>
            <p:nvPr userDrawn="1"/>
          </p:nvSpPr>
          <p:spPr>
            <a:xfrm>
              <a:off x="820867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7" name="Oval 356"/>
            <p:cNvSpPr/>
            <p:nvPr userDrawn="1"/>
          </p:nvSpPr>
          <p:spPr>
            <a:xfrm>
              <a:off x="843984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8" name="Oval 357"/>
            <p:cNvSpPr/>
            <p:nvPr userDrawn="1"/>
          </p:nvSpPr>
          <p:spPr>
            <a:xfrm>
              <a:off x="86710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59" name="Oval 358"/>
            <p:cNvSpPr/>
            <p:nvPr userDrawn="1"/>
          </p:nvSpPr>
          <p:spPr>
            <a:xfrm>
              <a:off x="89021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0" name="Oval 359"/>
            <p:cNvSpPr/>
            <p:nvPr userDrawn="1"/>
          </p:nvSpPr>
          <p:spPr>
            <a:xfrm>
              <a:off x="9133367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1" name="Oval 360"/>
            <p:cNvSpPr/>
            <p:nvPr userDrawn="1"/>
          </p:nvSpPr>
          <p:spPr>
            <a:xfrm>
              <a:off x="9364540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2" name="Oval 361"/>
            <p:cNvSpPr/>
            <p:nvPr userDrawn="1"/>
          </p:nvSpPr>
          <p:spPr>
            <a:xfrm>
              <a:off x="9595713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3" name="Oval 362"/>
            <p:cNvSpPr/>
            <p:nvPr userDrawn="1"/>
          </p:nvSpPr>
          <p:spPr>
            <a:xfrm>
              <a:off x="982688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4" name="Oval 363"/>
            <p:cNvSpPr/>
            <p:nvPr userDrawn="1"/>
          </p:nvSpPr>
          <p:spPr>
            <a:xfrm>
              <a:off x="1005805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5" name="Oval 364"/>
            <p:cNvSpPr/>
            <p:nvPr userDrawn="1"/>
          </p:nvSpPr>
          <p:spPr>
            <a:xfrm>
              <a:off x="10289232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6" name="Oval 365"/>
            <p:cNvSpPr/>
            <p:nvPr userDrawn="1"/>
          </p:nvSpPr>
          <p:spPr>
            <a:xfrm>
              <a:off x="10520405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7" name="Oval 366"/>
            <p:cNvSpPr/>
            <p:nvPr userDrawn="1"/>
          </p:nvSpPr>
          <p:spPr>
            <a:xfrm>
              <a:off x="10751578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8" name="Oval 367"/>
            <p:cNvSpPr/>
            <p:nvPr userDrawn="1"/>
          </p:nvSpPr>
          <p:spPr>
            <a:xfrm>
              <a:off x="1098274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69" name="Oval 368"/>
            <p:cNvSpPr/>
            <p:nvPr userDrawn="1"/>
          </p:nvSpPr>
          <p:spPr>
            <a:xfrm>
              <a:off x="11213921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0" name="Oval 369"/>
            <p:cNvSpPr/>
            <p:nvPr userDrawn="1"/>
          </p:nvSpPr>
          <p:spPr>
            <a:xfrm>
              <a:off x="11445094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1" name="Oval 370"/>
            <p:cNvSpPr/>
            <p:nvPr userDrawn="1"/>
          </p:nvSpPr>
          <p:spPr>
            <a:xfrm>
              <a:off x="11676266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2" name="Oval 371"/>
            <p:cNvSpPr/>
            <p:nvPr userDrawn="1"/>
          </p:nvSpPr>
          <p:spPr>
            <a:xfrm>
              <a:off x="11907439" y="259221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3" name="Oval 372"/>
            <p:cNvSpPr/>
            <p:nvPr userDrawn="1"/>
          </p:nvSpPr>
          <p:spPr>
            <a:xfrm>
              <a:off x="774632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4" name="Oval 373"/>
            <p:cNvSpPr/>
            <p:nvPr userDrawn="1"/>
          </p:nvSpPr>
          <p:spPr>
            <a:xfrm>
              <a:off x="797750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5" name="Oval 374"/>
            <p:cNvSpPr/>
            <p:nvPr userDrawn="1"/>
          </p:nvSpPr>
          <p:spPr>
            <a:xfrm>
              <a:off x="820867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6" name="Oval 375"/>
            <p:cNvSpPr/>
            <p:nvPr userDrawn="1"/>
          </p:nvSpPr>
          <p:spPr>
            <a:xfrm>
              <a:off x="843984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7" name="Oval 376"/>
            <p:cNvSpPr/>
            <p:nvPr userDrawn="1"/>
          </p:nvSpPr>
          <p:spPr>
            <a:xfrm>
              <a:off x="86710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8" name="Oval 377"/>
            <p:cNvSpPr/>
            <p:nvPr userDrawn="1"/>
          </p:nvSpPr>
          <p:spPr>
            <a:xfrm>
              <a:off x="89021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79" name="Oval 378"/>
            <p:cNvSpPr/>
            <p:nvPr userDrawn="1"/>
          </p:nvSpPr>
          <p:spPr>
            <a:xfrm>
              <a:off x="9133367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0" name="Oval 379"/>
            <p:cNvSpPr/>
            <p:nvPr userDrawn="1"/>
          </p:nvSpPr>
          <p:spPr>
            <a:xfrm>
              <a:off x="9364540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1" name="Oval 380"/>
            <p:cNvSpPr/>
            <p:nvPr userDrawn="1"/>
          </p:nvSpPr>
          <p:spPr>
            <a:xfrm>
              <a:off x="9595713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2" name="Oval 381"/>
            <p:cNvSpPr/>
            <p:nvPr userDrawn="1"/>
          </p:nvSpPr>
          <p:spPr>
            <a:xfrm>
              <a:off x="982688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3" name="Oval 382"/>
            <p:cNvSpPr/>
            <p:nvPr userDrawn="1"/>
          </p:nvSpPr>
          <p:spPr>
            <a:xfrm>
              <a:off x="1005805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4" name="Oval 383"/>
            <p:cNvSpPr/>
            <p:nvPr userDrawn="1"/>
          </p:nvSpPr>
          <p:spPr>
            <a:xfrm>
              <a:off x="10289232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5" name="Oval 384"/>
            <p:cNvSpPr/>
            <p:nvPr userDrawn="1"/>
          </p:nvSpPr>
          <p:spPr>
            <a:xfrm>
              <a:off x="10520405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6" name="Oval 385"/>
            <p:cNvSpPr/>
            <p:nvPr userDrawn="1"/>
          </p:nvSpPr>
          <p:spPr>
            <a:xfrm>
              <a:off x="10751578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7" name="Oval 386"/>
            <p:cNvSpPr/>
            <p:nvPr userDrawn="1"/>
          </p:nvSpPr>
          <p:spPr>
            <a:xfrm>
              <a:off x="1098274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8" name="Oval 387"/>
            <p:cNvSpPr/>
            <p:nvPr userDrawn="1"/>
          </p:nvSpPr>
          <p:spPr>
            <a:xfrm>
              <a:off x="11213921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89" name="Oval 388"/>
            <p:cNvSpPr/>
            <p:nvPr userDrawn="1"/>
          </p:nvSpPr>
          <p:spPr>
            <a:xfrm>
              <a:off x="11445094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0" name="Oval 389"/>
            <p:cNvSpPr/>
            <p:nvPr userDrawn="1"/>
          </p:nvSpPr>
          <p:spPr>
            <a:xfrm>
              <a:off x="11676266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1" name="Oval 390"/>
            <p:cNvSpPr/>
            <p:nvPr userDrawn="1"/>
          </p:nvSpPr>
          <p:spPr>
            <a:xfrm>
              <a:off x="11907439" y="282260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2" name="Oval 391"/>
            <p:cNvSpPr/>
            <p:nvPr userDrawn="1"/>
          </p:nvSpPr>
          <p:spPr>
            <a:xfrm>
              <a:off x="797750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3" name="Oval 392"/>
            <p:cNvSpPr/>
            <p:nvPr userDrawn="1"/>
          </p:nvSpPr>
          <p:spPr>
            <a:xfrm>
              <a:off x="820867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4" name="Oval 393"/>
            <p:cNvSpPr/>
            <p:nvPr userDrawn="1"/>
          </p:nvSpPr>
          <p:spPr>
            <a:xfrm>
              <a:off x="843984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5" name="Oval 394"/>
            <p:cNvSpPr/>
            <p:nvPr userDrawn="1"/>
          </p:nvSpPr>
          <p:spPr>
            <a:xfrm>
              <a:off x="86710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6" name="Oval 395"/>
            <p:cNvSpPr/>
            <p:nvPr userDrawn="1"/>
          </p:nvSpPr>
          <p:spPr>
            <a:xfrm>
              <a:off x="89021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7" name="Oval 396"/>
            <p:cNvSpPr/>
            <p:nvPr userDrawn="1"/>
          </p:nvSpPr>
          <p:spPr>
            <a:xfrm>
              <a:off x="9133367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8" name="Oval 397"/>
            <p:cNvSpPr/>
            <p:nvPr userDrawn="1"/>
          </p:nvSpPr>
          <p:spPr>
            <a:xfrm>
              <a:off x="9364540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399" name="Oval 398"/>
            <p:cNvSpPr/>
            <p:nvPr userDrawn="1"/>
          </p:nvSpPr>
          <p:spPr>
            <a:xfrm>
              <a:off x="9595713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0" name="Oval 399"/>
            <p:cNvSpPr/>
            <p:nvPr userDrawn="1"/>
          </p:nvSpPr>
          <p:spPr>
            <a:xfrm>
              <a:off x="982688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1" name="Oval 400"/>
            <p:cNvSpPr/>
            <p:nvPr userDrawn="1"/>
          </p:nvSpPr>
          <p:spPr>
            <a:xfrm>
              <a:off x="1005805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2" name="Oval 401"/>
            <p:cNvSpPr/>
            <p:nvPr userDrawn="1"/>
          </p:nvSpPr>
          <p:spPr>
            <a:xfrm>
              <a:off x="10289232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3" name="Oval 402"/>
            <p:cNvSpPr/>
            <p:nvPr userDrawn="1"/>
          </p:nvSpPr>
          <p:spPr>
            <a:xfrm>
              <a:off x="10520405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4" name="Oval 403"/>
            <p:cNvSpPr/>
            <p:nvPr userDrawn="1"/>
          </p:nvSpPr>
          <p:spPr>
            <a:xfrm>
              <a:off x="10751578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5" name="Oval 404"/>
            <p:cNvSpPr/>
            <p:nvPr userDrawn="1"/>
          </p:nvSpPr>
          <p:spPr>
            <a:xfrm>
              <a:off x="1098274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6" name="Oval 405"/>
            <p:cNvSpPr/>
            <p:nvPr userDrawn="1"/>
          </p:nvSpPr>
          <p:spPr>
            <a:xfrm>
              <a:off x="11213921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7" name="Oval 406"/>
            <p:cNvSpPr/>
            <p:nvPr userDrawn="1"/>
          </p:nvSpPr>
          <p:spPr>
            <a:xfrm>
              <a:off x="11445094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8" name="Oval 407"/>
            <p:cNvSpPr/>
            <p:nvPr userDrawn="1"/>
          </p:nvSpPr>
          <p:spPr>
            <a:xfrm>
              <a:off x="11676266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09" name="Oval 408"/>
            <p:cNvSpPr/>
            <p:nvPr userDrawn="1"/>
          </p:nvSpPr>
          <p:spPr>
            <a:xfrm>
              <a:off x="11907439" y="305298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0" name="Oval 409"/>
            <p:cNvSpPr/>
            <p:nvPr userDrawn="1"/>
          </p:nvSpPr>
          <p:spPr>
            <a:xfrm>
              <a:off x="820867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1" name="Oval 410"/>
            <p:cNvSpPr/>
            <p:nvPr userDrawn="1"/>
          </p:nvSpPr>
          <p:spPr>
            <a:xfrm>
              <a:off x="843984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2" name="Oval 411"/>
            <p:cNvSpPr/>
            <p:nvPr userDrawn="1"/>
          </p:nvSpPr>
          <p:spPr>
            <a:xfrm>
              <a:off x="86710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3" name="Oval 412"/>
            <p:cNvSpPr/>
            <p:nvPr userDrawn="1"/>
          </p:nvSpPr>
          <p:spPr>
            <a:xfrm>
              <a:off x="89021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4" name="Oval 413"/>
            <p:cNvSpPr/>
            <p:nvPr userDrawn="1"/>
          </p:nvSpPr>
          <p:spPr>
            <a:xfrm>
              <a:off x="9133367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5" name="Oval 414"/>
            <p:cNvSpPr/>
            <p:nvPr userDrawn="1"/>
          </p:nvSpPr>
          <p:spPr>
            <a:xfrm>
              <a:off x="9364540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6" name="Oval 415"/>
            <p:cNvSpPr/>
            <p:nvPr userDrawn="1"/>
          </p:nvSpPr>
          <p:spPr>
            <a:xfrm>
              <a:off x="9595713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7" name="Oval 416"/>
            <p:cNvSpPr/>
            <p:nvPr userDrawn="1"/>
          </p:nvSpPr>
          <p:spPr>
            <a:xfrm>
              <a:off x="982688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8" name="Oval 417"/>
            <p:cNvSpPr/>
            <p:nvPr userDrawn="1"/>
          </p:nvSpPr>
          <p:spPr>
            <a:xfrm>
              <a:off x="1005805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19" name="Oval 418"/>
            <p:cNvSpPr/>
            <p:nvPr userDrawn="1"/>
          </p:nvSpPr>
          <p:spPr>
            <a:xfrm>
              <a:off x="10289232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0" name="Oval 419"/>
            <p:cNvSpPr/>
            <p:nvPr userDrawn="1"/>
          </p:nvSpPr>
          <p:spPr>
            <a:xfrm>
              <a:off x="10520405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1" name="Oval 420"/>
            <p:cNvSpPr/>
            <p:nvPr userDrawn="1"/>
          </p:nvSpPr>
          <p:spPr>
            <a:xfrm>
              <a:off x="10751578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2" name="Oval 421"/>
            <p:cNvSpPr/>
            <p:nvPr userDrawn="1"/>
          </p:nvSpPr>
          <p:spPr>
            <a:xfrm>
              <a:off x="1098274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3" name="Oval 422"/>
            <p:cNvSpPr/>
            <p:nvPr userDrawn="1"/>
          </p:nvSpPr>
          <p:spPr>
            <a:xfrm>
              <a:off x="11213921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4" name="Oval 423"/>
            <p:cNvSpPr/>
            <p:nvPr userDrawn="1"/>
          </p:nvSpPr>
          <p:spPr>
            <a:xfrm>
              <a:off x="11445094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5" name="Oval 424"/>
            <p:cNvSpPr/>
            <p:nvPr userDrawn="1"/>
          </p:nvSpPr>
          <p:spPr>
            <a:xfrm>
              <a:off x="11676266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6" name="Oval 425"/>
            <p:cNvSpPr/>
            <p:nvPr userDrawn="1"/>
          </p:nvSpPr>
          <p:spPr>
            <a:xfrm>
              <a:off x="11907439" y="328337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7" name="Oval 426"/>
            <p:cNvSpPr/>
            <p:nvPr userDrawn="1"/>
          </p:nvSpPr>
          <p:spPr>
            <a:xfrm>
              <a:off x="820867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8" name="Oval 427"/>
            <p:cNvSpPr/>
            <p:nvPr userDrawn="1"/>
          </p:nvSpPr>
          <p:spPr>
            <a:xfrm>
              <a:off x="843984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29" name="Oval 428"/>
            <p:cNvSpPr/>
            <p:nvPr userDrawn="1"/>
          </p:nvSpPr>
          <p:spPr>
            <a:xfrm>
              <a:off x="86710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0" name="Oval 429"/>
            <p:cNvSpPr/>
            <p:nvPr userDrawn="1"/>
          </p:nvSpPr>
          <p:spPr>
            <a:xfrm>
              <a:off x="89021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1" name="Oval 430"/>
            <p:cNvSpPr/>
            <p:nvPr userDrawn="1"/>
          </p:nvSpPr>
          <p:spPr>
            <a:xfrm>
              <a:off x="9133367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2" name="Oval 431"/>
            <p:cNvSpPr/>
            <p:nvPr userDrawn="1"/>
          </p:nvSpPr>
          <p:spPr>
            <a:xfrm>
              <a:off x="9364540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3" name="Oval 432"/>
            <p:cNvSpPr/>
            <p:nvPr userDrawn="1"/>
          </p:nvSpPr>
          <p:spPr>
            <a:xfrm>
              <a:off x="9595713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4" name="Oval 433"/>
            <p:cNvSpPr/>
            <p:nvPr userDrawn="1"/>
          </p:nvSpPr>
          <p:spPr>
            <a:xfrm>
              <a:off x="982688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5" name="Oval 434"/>
            <p:cNvSpPr/>
            <p:nvPr userDrawn="1"/>
          </p:nvSpPr>
          <p:spPr>
            <a:xfrm>
              <a:off x="1005805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6" name="Oval 435"/>
            <p:cNvSpPr/>
            <p:nvPr userDrawn="1"/>
          </p:nvSpPr>
          <p:spPr>
            <a:xfrm>
              <a:off x="10289232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7" name="Oval 436"/>
            <p:cNvSpPr/>
            <p:nvPr userDrawn="1"/>
          </p:nvSpPr>
          <p:spPr>
            <a:xfrm>
              <a:off x="10520405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8" name="Oval 437"/>
            <p:cNvSpPr/>
            <p:nvPr userDrawn="1"/>
          </p:nvSpPr>
          <p:spPr>
            <a:xfrm>
              <a:off x="10751578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39" name="Oval 438"/>
            <p:cNvSpPr/>
            <p:nvPr userDrawn="1"/>
          </p:nvSpPr>
          <p:spPr>
            <a:xfrm>
              <a:off x="1098274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0" name="Oval 439"/>
            <p:cNvSpPr/>
            <p:nvPr userDrawn="1"/>
          </p:nvSpPr>
          <p:spPr>
            <a:xfrm>
              <a:off x="11213921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1" name="Oval 440"/>
            <p:cNvSpPr/>
            <p:nvPr userDrawn="1"/>
          </p:nvSpPr>
          <p:spPr>
            <a:xfrm>
              <a:off x="11445094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2" name="Oval 441"/>
            <p:cNvSpPr/>
            <p:nvPr userDrawn="1"/>
          </p:nvSpPr>
          <p:spPr>
            <a:xfrm>
              <a:off x="11676266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3" name="Oval 442"/>
            <p:cNvSpPr/>
            <p:nvPr userDrawn="1"/>
          </p:nvSpPr>
          <p:spPr>
            <a:xfrm>
              <a:off x="11907439" y="351376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4" name="Oval 443"/>
            <p:cNvSpPr/>
            <p:nvPr userDrawn="1"/>
          </p:nvSpPr>
          <p:spPr>
            <a:xfrm>
              <a:off x="86710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5" name="Oval 444"/>
            <p:cNvSpPr/>
            <p:nvPr userDrawn="1"/>
          </p:nvSpPr>
          <p:spPr>
            <a:xfrm>
              <a:off x="89021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6" name="Oval 445"/>
            <p:cNvSpPr/>
            <p:nvPr userDrawn="1"/>
          </p:nvSpPr>
          <p:spPr>
            <a:xfrm>
              <a:off x="9133367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7" name="Oval 446"/>
            <p:cNvSpPr/>
            <p:nvPr userDrawn="1"/>
          </p:nvSpPr>
          <p:spPr>
            <a:xfrm>
              <a:off x="9364540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8" name="Oval 447"/>
            <p:cNvSpPr/>
            <p:nvPr userDrawn="1"/>
          </p:nvSpPr>
          <p:spPr>
            <a:xfrm>
              <a:off x="9595713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49" name="Oval 448"/>
            <p:cNvSpPr/>
            <p:nvPr userDrawn="1"/>
          </p:nvSpPr>
          <p:spPr>
            <a:xfrm>
              <a:off x="982688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0" name="Oval 449"/>
            <p:cNvSpPr/>
            <p:nvPr userDrawn="1"/>
          </p:nvSpPr>
          <p:spPr>
            <a:xfrm>
              <a:off x="1005805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1" name="Oval 450"/>
            <p:cNvSpPr/>
            <p:nvPr userDrawn="1"/>
          </p:nvSpPr>
          <p:spPr>
            <a:xfrm>
              <a:off x="10289232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2" name="Oval 451"/>
            <p:cNvSpPr/>
            <p:nvPr userDrawn="1"/>
          </p:nvSpPr>
          <p:spPr>
            <a:xfrm>
              <a:off x="10520405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3" name="Oval 452"/>
            <p:cNvSpPr/>
            <p:nvPr userDrawn="1"/>
          </p:nvSpPr>
          <p:spPr>
            <a:xfrm>
              <a:off x="10751578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4" name="Oval 453"/>
            <p:cNvSpPr/>
            <p:nvPr userDrawn="1"/>
          </p:nvSpPr>
          <p:spPr>
            <a:xfrm>
              <a:off x="1098274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5" name="Oval 454"/>
            <p:cNvSpPr/>
            <p:nvPr userDrawn="1"/>
          </p:nvSpPr>
          <p:spPr>
            <a:xfrm>
              <a:off x="11213921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6" name="Oval 455"/>
            <p:cNvSpPr/>
            <p:nvPr userDrawn="1"/>
          </p:nvSpPr>
          <p:spPr>
            <a:xfrm>
              <a:off x="11445094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7" name="Oval 456"/>
            <p:cNvSpPr/>
            <p:nvPr userDrawn="1"/>
          </p:nvSpPr>
          <p:spPr>
            <a:xfrm>
              <a:off x="11676266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8" name="Oval 457"/>
            <p:cNvSpPr/>
            <p:nvPr userDrawn="1"/>
          </p:nvSpPr>
          <p:spPr>
            <a:xfrm>
              <a:off x="11907439" y="374415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59" name="Oval 458"/>
            <p:cNvSpPr/>
            <p:nvPr userDrawn="1"/>
          </p:nvSpPr>
          <p:spPr>
            <a:xfrm>
              <a:off x="89021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0" name="Oval 459"/>
            <p:cNvSpPr/>
            <p:nvPr userDrawn="1"/>
          </p:nvSpPr>
          <p:spPr>
            <a:xfrm>
              <a:off x="9133367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1" name="Oval 460"/>
            <p:cNvSpPr/>
            <p:nvPr userDrawn="1"/>
          </p:nvSpPr>
          <p:spPr>
            <a:xfrm>
              <a:off x="9364540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2" name="Oval 461"/>
            <p:cNvSpPr/>
            <p:nvPr userDrawn="1"/>
          </p:nvSpPr>
          <p:spPr>
            <a:xfrm>
              <a:off x="9595713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3" name="Oval 462"/>
            <p:cNvSpPr/>
            <p:nvPr userDrawn="1"/>
          </p:nvSpPr>
          <p:spPr>
            <a:xfrm>
              <a:off x="982688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4" name="Oval 463"/>
            <p:cNvSpPr/>
            <p:nvPr userDrawn="1"/>
          </p:nvSpPr>
          <p:spPr>
            <a:xfrm>
              <a:off x="1005805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5" name="Oval 464"/>
            <p:cNvSpPr/>
            <p:nvPr userDrawn="1"/>
          </p:nvSpPr>
          <p:spPr>
            <a:xfrm>
              <a:off x="10289232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6" name="Oval 465"/>
            <p:cNvSpPr/>
            <p:nvPr userDrawn="1"/>
          </p:nvSpPr>
          <p:spPr>
            <a:xfrm>
              <a:off x="10520405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7" name="Oval 466"/>
            <p:cNvSpPr/>
            <p:nvPr userDrawn="1"/>
          </p:nvSpPr>
          <p:spPr>
            <a:xfrm>
              <a:off x="10751578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8" name="Oval 467"/>
            <p:cNvSpPr/>
            <p:nvPr userDrawn="1"/>
          </p:nvSpPr>
          <p:spPr>
            <a:xfrm>
              <a:off x="1098274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69" name="Oval 468"/>
            <p:cNvSpPr/>
            <p:nvPr userDrawn="1"/>
          </p:nvSpPr>
          <p:spPr>
            <a:xfrm>
              <a:off x="11213921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0" name="Oval 469"/>
            <p:cNvSpPr/>
            <p:nvPr userDrawn="1"/>
          </p:nvSpPr>
          <p:spPr>
            <a:xfrm>
              <a:off x="11445094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1" name="Oval 470"/>
            <p:cNvSpPr/>
            <p:nvPr userDrawn="1"/>
          </p:nvSpPr>
          <p:spPr>
            <a:xfrm>
              <a:off x="11676266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2" name="Oval 471"/>
            <p:cNvSpPr/>
            <p:nvPr userDrawn="1"/>
          </p:nvSpPr>
          <p:spPr>
            <a:xfrm>
              <a:off x="11907439" y="397454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3" name="Oval 472"/>
            <p:cNvSpPr/>
            <p:nvPr userDrawn="1"/>
          </p:nvSpPr>
          <p:spPr>
            <a:xfrm>
              <a:off x="89021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4" name="Oval 473"/>
            <p:cNvSpPr/>
            <p:nvPr userDrawn="1"/>
          </p:nvSpPr>
          <p:spPr>
            <a:xfrm>
              <a:off x="9133367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5" name="Oval 474"/>
            <p:cNvSpPr/>
            <p:nvPr userDrawn="1"/>
          </p:nvSpPr>
          <p:spPr>
            <a:xfrm>
              <a:off x="9364540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6" name="Oval 475"/>
            <p:cNvSpPr/>
            <p:nvPr userDrawn="1"/>
          </p:nvSpPr>
          <p:spPr>
            <a:xfrm>
              <a:off x="9595713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7" name="Oval 476"/>
            <p:cNvSpPr/>
            <p:nvPr userDrawn="1"/>
          </p:nvSpPr>
          <p:spPr>
            <a:xfrm>
              <a:off x="982688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8" name="Oval 477"/>
            <p:cNvSpPr/>
            <p:nvPr userDrawn="1"/>
          </p:nvSpPr>
          <p:spPr>
            <a:xfrm>
              <a:off x="1005805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79" name="Oval 478"/>
            <p:cNvSpPr/>
            <p:nvPr userDrawn="1"/>
          </p:nvSpPr>
          <p:spPr>
            <a:xfrm>
              <a:off x="10289232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0" name="Oval 479"/>
            <p:cNvSpPr/>
            <p:nvPr userDrawn="1"/>
          </p:nvSpPr>
          <p:spPr>
            <a:xfrm>
              <a:off x="10520405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1" name="Oval 480"/>
            <p:cNvSpPr/>
            <p:nvPr userDrawn="1"/>
          </p:nvSpPr>
          <p:spPr>
            <a:xfrm>
              <a:off x="10751578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2" name="Oval 481"/>
            <p:cNvSpPr/>
            <p:nvPr userDrawn="1"/>
          </p:nvSpPr>
          <p:spPr>
            <a:xfrm>
              <a:off x="1098274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3" name="Oval 482"/>
            <p:cNvSpPr/>
            <p:nvPr userDrawn="1"/>
          </p:nvSpPr>
          <p:spPr>
            <a:xfrm>
              <a:off x="11213921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4" name="Oval 483"/>
            <p:cNvSpPr/>
            <p:nvPr userDrawn="1"/>
          </p:nvSpPr>
          <p:spPr>
            <a:xfrm>
              <a:off x="11445094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5" name="Oval 484"/>
            <p:cNvSpPr/>
            <p:nvPr userDrawn="1"/>
          </p:nvSpPr>
          <p:spPr>
            <a:xfrm>
              <a:off x="11676266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6" name="Oval 485"/>
            <p:cNvSpPr/>
            <p:nvPr userDrawn="1"/>
          </p:nvSpPr>
          <p:spPr>
            <a:xfrm>
              <a:off x="11907439" y="420492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7" name="Oval 486"/>
            <p:cNvSpPr/>
            <p:nvPr userDrawn="1"/>
          </p:nvSpPr>
          <p:spPr>
            <a:xfrm>
              <a:off x="9133367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8" name="Oval 487"/>
            <p:cNvSpPr/>
            <p:nvPr userDrawn="1"/>
          </p:nvSpPr>
          <p:spPr>
            <a:xfrm>
              <a:off x="9364540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89" name="Oval 488"/>
            <p:cNvSpPr/>
            <p:nvPr userDrawn="1"/>
          </p:nvSpPr>
          <p:spPr>
            <a:xfrm>
              <a:off x="9595713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0" name="Oval 489"/>
            <p:cNvSpPr/>
            <p:nvPr userDrawn="1"/>
          </p:nvSpPr>
          <p:spPr>
            <a:xfrm>
              <a:off x="982688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1" name="Oval 490"/>
            <p:cNvSpPr/>
            <p:nvPr userDrawn="1"/>
          </p:nvSpPr>
          <p:spPr>
            <a:xfrm>
              <a:off x="1005805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2" name="Oval 491"/>
            <p:cNvSpPr/>
            <p:nvPr userDrawn="1"/>
          </p:nvSpPr>
          <p:spPr>
            <a:xfrm>
              <a:off x="10289232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3" name="Oval 492"/>
            <p:cNvSpPr/>
            <p:nvPr userDrawn="1"/>
          </p:nvSpPr>
          <p:spPr>
            <a:xfrm>
              <a:off x="10520405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4" name="Oval 493"/>
            <p:cNvSpPr/>
            <p:nvPr userDrawn="1"/>
          </p:nvSpPr>
          <p:spPr>
            <a:xfrm>
              <a:off x="10751578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5" name="Oval 494"/>
            <p:cNvSpPr/>
            <p:nvPr userDrawn="1"/>
          </p:nvSpPr>
          <p:spPr>
            <a:xfrm>
              <a:off x="1098274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6" name="Oval 495"/>
            <p:cNvSpPr/>
            <p:nvPr userDrawn="1"/>
          </p:nvSpPr>
          <p:spPr>
            <a:xfrm>
              <a:off x="11213921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7" name="Oval 496"/>
            <p:cNvSpPr/>
            <p:nvPr userDrawn="1"/>
          </p:nvSpPr>
          <p:spPr>
            <a:xfrm>
              <a:off x="11445094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8" name="Oval 497"/>
            <p:cNvSpPr/>
            <p:nvPr userDrawn="1"/>
          </p:nvSpPr>
          <p:spPr>
            <a:xfrm>
              <a:off x="11676266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499" name="Oval 498"/>
            <p:cNvSpPr/>
            <p:nvPr userDrawn="1"/>
          </p:nvSpPr>
          <p:spPr>
            <a:xfrm>
              <a:off x="11907439" y="443531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0" name="Oval 499"/>
            <p:cNvSpPr/>
            <p:nvPr userDrawn="1"/>
          </p:nvSpPr>
          <p:spPr>
            <a:xfrm>
              <a:off x="9133367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1" name="Oval 500"/>
            <p:cNvSpPr/>
            <p:nvPr userDrawn="1"/>
          </p:nvSpPr>
          <p:spPr>
            <a:xfrm>
              <a:off x="9364540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2" name="Oval 501"/>
            <p:cNvSpPr/>
            <p:nvPr userDrawn="1"/>
          </p:nvSpPr>
          <p:spPr>
            <a:xfrm>
              <a:off x="9595713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3" name="Oval 502"/>
            <p:cNvSpPr/>
            <p:nvPr userDrawn="1"/>
          </p:nvSpPr>
          <p:spPr>
            <a:xfrm>
              <a:off x="982688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4" name="Oval 503"/>
            <p:cNvSpPr/>
            <p:nvPr userDrawn="1"/>
          </p:nvSpPr>
          <p:spPr>
            <a:xfrm>
              <a:off x="1005805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5" name="Oval 504"/>
            <p:cNvSpPr/>
            <p:nvPr userDrawn="1"/>
          </p:nvSpPr>
          <p:spPr>
            <a:xfrm>
              <a:off x="10289232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6" name="Oval 505"/>
            <p:cNvSpPr/>
            <p:nvPr userDrawn="1"/>
          </p:nvSpPr>
          <p:spPr>
            <a:xfrm>
              <a:off x="10520405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7" name="Oval 506"/>
            <p:cNvSpPr/>
            <p:nvPr userDrawn="1"/>
          </p:nvSpPr>
          <p:spPr>
            <a:xfrm>
              <a:off x="10751578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8" name="Oval 507"/>
            <p:cNvSpPr/>
            <p:nvPr userDrawn="1"/>
          </p:nvSpPr>
          <p:spPr>
            <a:xfrm>
              <a:off x="1098274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09" name="Oval 508"/>
            <p:cNvSpPr/>
            <p:nvPr userDrawn="1"/>
          </p:nvSpPr>
          <p:spPr>
            <a:xfrm>
              <a:off x="11213921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0" name="Oval 509"/>
            <p:cNvSpPr/>
            <p:nvPr userDrawn="1"/>
          </p:nvSpPr>
          <p:spPr>
            <a:xfrm>
              <a:off x="11445094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1" name="Oval 510"/>
            <p:cNvSpPr/>
            <p:nvPr userDrawn="1"/>
          </p:nvSpPr>
          <p:spPr>
            <a:xfrm>
              <a:off x="11676266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2" name="Oval 511"/>
            <p:cNvSpPr/>
            <p:nvPr userDrawn="1"/>
          </p:nvSpPr>
          <p:spPr>
            <a:xfrm>
              <a:off x="11907439" y="466570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3" name="Oval 512"/>
            <p:cNvSpPr/>
            <p:nvPr userDrawn="1"/>
          </p:nvSpPr>
          <p:spPr>
            <a:xfrm>
              <a:off x="9133367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4" name="Oval 513"/>
            <p:cNvSpPr/>
            <p:nvPr userDrawn="1"/>
          </p:nvSpPr>
          <p:spPr>
            <a:xfrm>
              <a:off x="9364540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5" name="Oval 514"/>
            <p:cNvSpPr/>
            <p:nvPr userDrawn="1"/>
          </p:nvSpPr>
          <p:spPr>
            <a:xfrm>
              <a:off x="9595713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6" name="Oval 515"/>
            <p:cNvSpPr/>
            <p:nvPr userDrawn="1"/>
          </p:nvSpPr>
          <p:spPr>
            <a:xfrm>
              <a:off x="982688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7" name="Oval 516"/>
            <p:cNvSpPr/>
            <p:nvPr userDrawn="1"/>
          </p:nvSpPr>
          <p:spPr>
            <a:xfrm>
              <a:off x="1005805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8" name="Oval 517"/>
            <p:cNvSpPr/>
            <p:nvPr userDrawn="1"/>
          </p:nvSpPr>
          <p:spPr>
            <a:xfrm>
              <a:off x="10289232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19" name="Oval 518"/>
            <p:cNvSpPr/>
            <p:nvPr userDrawn="1"/>
          </p:nvSpPr>
          <p:spPr>
            <a:xfrm>
              <a:off x="10520405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0" name="Oval 519"/>
            <p:cNvSpPr/>
            <p:nvPr userDrawn="1"/>
          </p:nvSpPr>
          <p:spPr>
            <a:xfrm>
              <a:off x="10751578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1" name="Oval 520"/>
            <p:cNvSpPr/>
            <p:nvPr userDrawn="1"/>
          </p:nvSpPr>
          <p:spPr>
            <a:xfrm>
              <a:off x="1098274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2" name="Oval 521"/>
            <p:cNvSpPr/>
            <p:nvPr userDrawn="1"/>
          </p:nvSpPr>
          <p:spPr>
            <a:xfrm>
              <a:off x="11213921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3" name="Oval 522"/>
            <p:cNvSpPr/>
            <p:nvPr userDrawn="1"/>
          </p:nvSpPr>
          <p:spPr>
            <a:xfrm>
              <a:off x="11445094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4" name="Oval 523"/>
            <p:cNvSpPr/>
            <p:nvPr userDrawn="1"/>
          </p:nvSpPr>
          <p:spPr>
            <a:xfrm>
              <a:off x="11676266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5" name="Oval 524"/>
            <p:cNvSpPr/>
            <p:nvPr userDrawn="1"/>
          </p:nvSpPr>
          <p:spPr>
            <a:xfrm>
              <a:off x="11907439" y="489609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6" name="Oval 525"/>
            <p:cNvSpPr/>
            <p:nvPr userDrawn="1"/>
          </p:nvSpPr>
          <p:spPr>
            <a:xfrm>
              <a:off x="9133367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7" name="Oval 526"/>
            <p:cNvSpPr/>
            <p:nvPr userDrawn="1"/>
          </p:nvSpPr>
          <p:spPr>
            <a:xfrm>
              <a:off x="9364540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8" name="Oval 527"/>
            <p:cNvSpPr/>
            <p:nvPr userDrawn="1"/>
          </p:nvSpPr>
          <p:spPr>
            <a:xfrm>
              <a:off x="9595713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29" name="Oval 528"/>
            <p:cNvSpPr/>
            <p:nvPr userDrawn="1"/>
          </p:nvSpPr>
          <p:spPr>
            <a:xfrm>
              <a:off x="982688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0" name="Oval 529"/>
            <p:cNvSpPr/>
            <p:nvPr userDrawn="1"/>
          </p:nvSpPr>
          <p:spPr>
            <a:xfrm>
              <a:off x="1005805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1" name="Oval 530"/>
            <p:cNvSpPr/>
            <p:nvPr userDrawn="1"/>
          </p:nvSpPr>
          <p:spPr>
            <a:xfrm>
              <a:off x="10289232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2" name="Oval 531"/>
            <p:cNvSpPr/>
            <p:nvPr userDrawn="1"/>
          </p:nvSpPr>
          <p:spPr>
            <a:xfrm>
              <a:off x="10520405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3" name="Oval 532"/>
            <p:cNvSpPr/>
            <p:nvPr userDrawn="1"/>
          </p:nvSpPr>
          <p:spPr>
            <a:xfrm>
              <a:off x="10751578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4" name="Oval 533"/>
            <p:cNvSpPr/>
            <p:nvPr userDrawn="1"/>
          </p:nvSpPr>
          <p:spPr>
            <a:xfrm>
              <a:off x="1098274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5" name="Oval 534"/>
            <p:cNvSpPr/>
            <p:nvPr userDrawn="1"/>
          </p:nvSpPr>
          <p:spPr>
            <a:xfrm>
              <a:off x="11213921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6" name="Oval 535"/>
            <p:cNvSpPr/>
            <p:nvPr userDrawn="1"/>
          </p:nvSpPr>
          <p:spPr>
            <a:xfrm>
              <a:off x="11445094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7" name="Oval 536"/>
            <p:cNvSpPr/>
            <p:nvPr userDrawn="1"/>
          </p:nvSpPr>
          <p:spPr>
            <a:xfrm>
              <a:off x="11676266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8" name="Oval 537"/>
            <p:cNvSpPr/>
            <p:nvPr userDrawn="1"/>
          </p:nvSpPr>
          <p:spPr>
            <a:xfrm>
              <a:off x="11907439" y="512648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39" name="Oval 538"/>
            <p:cNvSpPr/>
            <p:nvPr userDrawn="1"/>
          </p:nvSpPr>
          <p:spPr>
            <a:xfrm>
              <a:off x="9364540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0" name="Oval 539"/>
            <p:cNvSpPr/>
            <p:nvPr userDrawn="1"/>
          </p:nvSpPr>
          <p:spPr>
            <a:xfrm>
              <a:off x="9595713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1" name="Oval 540"/>
            <p:cNvSpPr/>
            <p:nvPr userDrawn="1"/>
          </p:nvSpPr>
          <p:spPr>
            <a:xfrm>
              <a:off x="982688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2" name="Oval 541"/>
            <p:cNvSpPr/>
            <p:nvPr userDrawn="1"/>
          </p:nvSpPr>
          <p:spPr>
            <a:xfrm>
              <a:off x="1005805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3" name="Oval 542"/>
            <p:cNvSpPr/>
            <p:nvPr userDrawn="1"/>
          </p:nvSpPr>
          <p:spPr>
            <a:xfrm>
              <a:off x="10289232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4" name="Oval 543"/>
            <p:cNvSpPr/>
            <p:nvPr userDrawn="1"/>
          </p:nvSpPr>
          <p:spPr>
            <a:xfrm>
              <a:off x="10520405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5" name="Oval 544"/>
            <p:cNvSpPr/>
            <p:nvPr userDrawn="1"/>
          </p:nvSpPr>
          <p:spPr>
            <a:xfrm>
              <a:off x="10751578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6" name="Oval 545"/>
            <p:cNvSpPr/>
            <p:nvPr userDrawn="1"/>
          </p:nvSpPr>
          <p:spPr>
            <a:xfrm>
              <a:off x="1098274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7" name="Oval 546"/>
            <p:cNvSpPr/>
            <p:nvPr userDrawn="1"/>
          </p:nvSpPr>
          <p:spPr>
            <a:xfrm>
              <a:off x="11213921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8" name="Oval 547"/>
            <p:cNvSpPr/>
            <p:nvPr userDrawn="1"/>
          </p:nvSpPr>
          <p:spPr>
            <a:xfrm>
              <a:off x="11445094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49" name="Oval 548"/>
            <p:cNvSpPr/>
            <p:nvPr userDrawn="1"/>
          </p:nvSpPr>
          <p:spPr>
            <a:xfrm>
              <a:off x="11676266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0" name="Oval 549"/>
            <p:cNvSpPr/>
            <p:nvPr userDrawn="1"/>
          </p:nvSpPr>
          <p:spPr>
            <a:xfrm>
              <a:off x="11907439" y="535686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1" name="Oval 550"/>
            <p:cNvSpPr/>
            <p:nvPr userDrawn="1"/>
          </p:nvSpPr>
          <p:spPr>
            <a:xfrm>
              <a:off x="9595713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2" name="Oval 551"/>
            <p:cNvSpPr/>
            <p:nvPr userDrawn="1"/>
          </p:nvSpPr>
          <p:spPr>
            <a:xfrm>
              <a:off x="982688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3" name="Oval 552"/>
            <p:cNvSpPr/>
            <p:nvPr userDrawn="1"/>
          </p:nvSpPr>
          <p:spPr>
            <a:xfrm>
              <a:off x="1005805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4" name="Oval 553"/>
            <p:cNvSpPr/>
            <p:nvPr userDrawn="1"/>
          </p:nvSpPr>
          <p:spPr>
            <a:xfrm>
              <a:off x="10289232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5" name="Oval 554"/>
            <p:cNvSpPr/>
            <p:nvPr userDrawn="1"/>
          </p:nvSpPr>
          <p:spPr>
            <a:xfrm>
              <a:off x="10520405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6" name="Oval 555"/>
            <p:cNvSpPr/>
            <p:nvPr userDrawn="1"/>
          </p:nvSpPr>
          <p:spPr>
            <a:xfrm>
              <a:off x="10751578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7" name="Oval 556"/>
            <p:cNvSpPr/>
            <p:nvPr userDrawn="1"/>
          </p:nvSpPr>
          <p:spPr>
            <a:xfrm>
              <a:off x="1098274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8" name="Oval 557"/>
            <p:cNvSpPr/>
            <p:nvPr userDrawn="1"/>
          </p:nvSpPr>
          <p:spPr>
            <a:xfrm>
              <a:off x="11213921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59" name="Oval 558"/>
            <p:cNvSpPr/>
            <p:nvPr userDrawn="1"/>
          </p:nvSpPr>
          <p:spPr>
            <a:xfrm>
              <a:off x="11445094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0" name="Oval 559"/>
            <p:cNvSpPr/>
            <p:nvPr userDrawn="1"/>
          </p:nvSpPr>
          <p:spPr>
            <a:xfrm>
              <a:off x="11676266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1" name="Oval 560"/>
            <p:cNvSpPr/>
            <p:nvPr userDrawn="1"/>
          </p:nvSpPr>
          <p:spPr>
            <a:xfrm>
              <a:off x="11907439" y="5587256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2" name="Oval 561"/>
            <p:cNvSpPr/>
            <p:nvPr userDrawn="1"/>
          </p:nvSpPr>
          <p:spPr>
            <a:xfrm>
              <a:off x="982688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3" name="Oval 562"/>
            <p:cNvSpPr/>
            <p:nvPr userDrawn="1"/>
          </p:nvSpPr>
          <p:spPr>
            <a:xfrm>
              <a:off x="1005805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4" name="Oval 563"/>
            <p:cNvSpPr/>
            <p:nvPr userDrawn="1"/>
          </p:nvSpPr>
          <p:spPr>
            <a:xfrm>
              <a:off x="10289232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5" name="Oval 564"/>
            <p:cNvSpPr/>
            <p:nvPr userDrawn="1"/>
          </p:nvSpPr>
          <p:spPr>
            <a:xfrm>
              <a:off x="10520405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6" name="Oval 565"/>
            <p:cNvSpPr/>
            <p:nvPr userDrawn="1"/>
          </p:nvSpPr>
          <p:spPr>
            <a:xfrm>
              <a:off x="10751578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7" name="Oval 566"/>
            <p:cNvSpPr/>
            <p:nvPr userDrawn="1"/>
          </p:nvSpPr>
          <p:spPr>
            <a:xfrm>
              <a:off x="1098274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8" name="Oval 567"/>
            <p:cNvSpPr/>
            <p:nvPr userDrawn="1"/>
          </p:nvSpPr>
          <p:spPr>
            <a:xfrm>
              <a:off x="11213921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69" name="Oval 568"/>
            <p:cNvSpPr/>
            <p:nvPr userDrawn="1"/>
          </p:nvSpPr>
          <p:spPr>
            <a:xfrm>
              <a:off x="11445094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0" name="Oval 569"/>
            <p:cNvSpPr/>
            <p:nvPr userDrawn="1"/>
          </p:nvSpPr>
          <p:spPr>
            <a:xfrm>
              <a:off x="11676266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1" name="Oval 570"/>
            <p:cNvSpPr/>
            <p:nvPr userDrawn="1"/>
          </p:nvSpPr>
          <p:spPr>
            <a:xfrm>
              <a:off x="11907439" y="5817644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2" name="Oval 571"/>
            <p:cNvSpPr/>
            <p:nvPr userDrawn="1"/>
          </p:nvSpPr>
          <p:spPr>
            <a:xfrm>
              <a:off x="982688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3" name="Oval 572"/>
            <p:cNvSpPr/>
            <p:nvPr userDrawn="1"/>
          </p:nvSpPr>
          <p:spPr>
            <a:xfrm>
              <a:off x="1005805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4" name="Oval 573"/>
            <p:cNvSpPr/>
            <p:nvPr userDrawn="1"/>
          </p:nvSpPr>
          <p:spPr>
            <a:xfrm>
              <a:off x="10289232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5" name="Oval 574"/>
            <p:cNvSpPr/>
            <p:nvPr userDrawn="1"/>
          </p:nvSpPr>
          <p:spPr>
            <a:xfrm>
              <a:off x="10520405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6" name="Oval 575"/>
            <p:cNvSpPr/>
            <p:nvPr userDrawn="1"/>
          </p:nvSpPr>
          <p:spPr>
            <a:xfrm>
              <a:off x="10751578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7" name="Oval 576"/>
            <p:cNvSpPr/>
            <p:nvPr userDrawn="1"/>
          </p:nvSpPr>
          <p:spPr>
            <a:xfrm>
              <a:off x="1098274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8" name="Oval 577"/>
            <p:cNvSpPr/>
            <p:nvPr userDrawn="1"/>
          </p:nvSpPr>
          <p:spPr>
            <a:xfrm>
              <a:off x="11213921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79" name="Oval 578"/>
            <p:cNvSpPr/>
            <p:nvPr userDrawn="1"/>
          </p:nvSpPr>
          <p:spPr>
            <a:xfrm>
              <a:off x="11445094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0" name="Oval 579"/>
            <p:cNvSpPr/>
            <p:nvPr userDrawn="1"/>
          </p:nvSpPr>
          <p:spPr>
            <a:xfrm>
              <a:off x="11676266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1" name="Oval 580"/>
            <p:cNvSpPr/>
            <p:nvPr userDrawn="1"/>
          </p:nvSpPr>
          <p:spPr>
            <a:xfrm>
              <a:off x="11907439" y="6048032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2" name="Oval 581"/>
            <p:cNvSpPr/>
            <p:nvPr userDrawn="1"/>
          </p:nvSpPr>
          <p:spPr>
            <a:xfrm>
              <a:off x="1005805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3" name="Oval 582"/>
            <p:cNvSpPr/>
            <p:nvPr userDrawn="1"/>
          </p:nvSpPr>
          <p:spPr>
            <a:xfrm>
              <a:off x="10289232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4" name="Oval 583"/>
            <p:cNvSpPr/>
            <p:nvPr userDrawn="1"/>
          </p:nvSpPr>
          <p:spPr>
            <a:xfrm>
              <a:off x="10520405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5" name="Oval 584"/>
            <p:cNvSpPr/>
            <p:nvPr userDrawn="1"/>
          </p:nvSpPr>
          <p:spPr>
            <a:xfrm>
              <a:off x="10751578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6" name="Oval 585"/>
            <p:cNvSpPr/>
            <p:nvPr userDrawn="1"/>
          </p:nvSpPr>
          <p:spPr>
            <a:xfrm>
              <a:off x="1098274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7" name="Oval 586"/>
            <p:cNvSpPr/>
            <p:nvPr userDrawn="1"/>
          </p:nvSpPr>
          <p:spPr>
            <a:xfrm>
              <a:off x="11213921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8" name="Oval 587"/>
            <p:cNvSpPr/>
            <p:nvPr userDrawn="1"/>
          </p:nvSpPr>
          <p:spPr>
            <a:xfrm>
              <a:off x="11445094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89" name="Oval 588"/>
            <p:cNvSpPr/>
            <p:nvPr userDrawn="1"/>
          </p:nvSpPr>
          <p:spPr>
            <a:xfrm>
              <a:off x="11676266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0" name="Oval 589"/>
            <p:cNvSpPr/>
            <p:nvPr userDrawn="1"/>
          </p:nvSpPr>
          <p:spPr>
            <a:xfrm>
              <a:off x="11907439" y="6278420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1" name="Oval 590"/>
            <p:cNvSpPr/>
            <p:nvPr userDrawn="1"/>
          </p:nvSpPr>
          <p:spPr>
            <a:xfrm>
              <a:off x="1005805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2" name="Oval 591"/>
            <p:cNvSpPr/>
            <p:nvPr userDrawn="1"/>
          </p:nvSpPr>
          <p:spPr>
            <a:xfrm>
              <a:off x="10289232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3" name="Oval 592"/>
            <p:cNvSpPr/>
            <p:nvPr userDrawn="1"/>
          </p:nvSpPr>
          <p:spPr>
            <a:xfrm>
              <a:off x="10520405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4" name="Oval 593"/>
            <p:cNvSpPr/>
            <p:nvPr userDrawn="1"/>
          </p:nvSpPr>
          <p:spPr>
            <a:xfrm>
              <a:off x="10751578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5" name="Oval 594"/>
            <p:cNvSpPr/>
            <p:nvPr userDrawn="1"/>
          </p:nvSpPr>
          <p:spPr>
            <a:xfrm>
              <a:off x="1098274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6" name="Oval 595"/>
            <p:cNvSpPr/>
            <p:nvPr userDrawn="1"/>
          </p:nvSpPr>
          <p:spPr>
            <a:xfrm>
              <a:off x="11213921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7" name="Oval 596"/>
            <p:cNvSpPr/>
            <p:nvPr userDrawn="1"/>
          </p:nvSpPr>
          <p:spPr>
            <a:xfrm>
              <a:off x="11445094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8" name="Oval 597"/>
            <p:cNvSpPr/>
            <p:nvPr userDrawn="1"/>
          </p:nvSpPr>
          <p:spPr>
            <a:xfrm>
              <a:off x="11676266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599" name="Oval 598"/>
            <p:cNvSpPr/>
            <p:nvPr userDrawn="1"/>
          </p:nvSpPr>
          <p:spPr>
            <a:xfrm>
              <a:off x="11907439" y="6508808"/>
              <a:ext cx="137319" cy="137319"/>
            </a:xfrm>
            <a:prstGeom prst="ellipse">
              <a:avLst/>
            </a:pr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0" name="Freeform 599"/>
            <p:cNvSpPr/>
            <p:nvPr userDrawn="1"/>
          </p:nvSpPr>
          <p:spPr>
            <a:xfrm>
              <a:off x="1028923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1" name="Freeform 600"/>
            <p:cNvSpPr/>
            <p:nvPr userDrawn="1"/>
          </p:nvSpPr>
          <p:spPr>
            <a:xfrm>
              <a:off x="12138610" y="144195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2" name="Freeform 601"/>
            <p:cNvSpPr/>
            <p:nvPr userDrawn="1"/>
          </p:nvSpPr>
          <p:spPr>
            <a:xfrm>
              <a:off x="12138610" y="167234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3" name="Freeform 602"/>
            <p:cNvSpPr/>
            <p:nvPr userDrawn="1"/>
          </p:nvSpPr>
          <p:spPr>
            <a:xfrm>
              <a:off x="12138610" y="190272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4" name="Freeform 603"/>
            <p:cNvSpPr/>
            <p:nvPr userDrawn="1"/>
          </p:nvSpPr>
          <p:spPr>
            <a:xfrm>
              <a:off x="12138610" y="213311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5" name="Freeform 604"/>
            <p:cNvSpPr/>
            <p:nvPr userDrawn="1"/>
          </p:nvSpPr>
          <p:spPr>
            <a:xfrm>
              <a:off x="12138610" y="236350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6" name="Freeform 605"/>
            <p:cNvSpPr/>
            <p:nvPr userDrawn="1"/>
          </p:nvSpPr>
          <p:spPr>
            <a:xfrm>
              <a:off x="12138610" y="259389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7" name="Freeform 606"/>
            <p:cNvSpPr/>
            <p:nvPr userDrawn="1"/>
          </p:nvSpPr>
          <p:spPr>
            <a:xfrm>
              <a:off x="12138610" y="282428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8" name="Freeform 607"/>
            <p:cNvSpPr/>
            <p:nvPr userDrawn="1"/>
          </p:nvSpPr>
          <p:spPr>
            <a:xfrm>
              <a:off x="12138610" y="305466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09" name="Freeform 608"/>
            <p:cNvSpPr/>
            <p:nvPr userDrawn="1"/>
          </p:nvSpPr>
          <p:spPr>
            <a:xfrm>
              <a:off x="12138610" y="328505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0" name="Freeform 609"/>
            <p:cNvSpPr/>
            <p:nvPr userDrawn="1"/>
          </p:nvSpPr>
          <p:spPr>
            <a:xfrm>
              <a:off x="12138610" y="351544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1" name="Freeform 610"/>
            <p:cNvSpPr/>
            <p:nvPr userDrawn="1"/>
          </p:nvSpPr>
          <p:spPr>
            <a:xfrm>
              <a:off x="12138610" y="374583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2" name="Freeform 611"/>
            <p:cNvSpPr/>
            <p:nvPr userDrawn="1"/>
          </p:nvSpPr>
          <p:spPr>
            <a:xfrm>
              <a:off x="12138610" y="397622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3" name="Freeform 612"/>
            <p:cNvSpPr/>
            <p:nvPr userDrawn="1"/>
          </p:nvSpPr>
          <p:spPr>
            <a:xfrm>
              <a:off x="12138610" y="420660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4" name="Freeform 613"/>
            <p:cNvSpPr/>
            <p:nvPr userDrawn="1"/>
          </p:nvSpPr>
          <p:spPr>
            <a:xfrm>
              <a:off x="12138610" y="443699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5" name="Freeform 614"/>
            <p:cNvSpPr/>
            <p:nvPr userDrawn="1"/>
          </p:nvSpPr>
          <p:spPr>
            <a:xfrm>
              <a:off x="12138610" y="466738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6" name="Freeform 615"/>
            <p:cNvSpPr/>
            <p:nvPr userDrawn="1"/>
          </p:nvSpPr>
          <p:spPr>
            <a:xfrm>
              <a:off x="12138610" y="489777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7" name="Freeform 616"/>
            <p:cNvSpPr/>
            <p:nvPr userDrawn="1"/>
          </p:nvSpPr>
          <p:spPr>
            <a:xfrm>
              <a:off x="12138610" y="512816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8" name="Freeform 617"/>
            <p:cNvSpPr/>
            <p:nvPr userDrawn="1"/>
          </p:nvSpPr>
          <p:spPr>
            <a:xfrm>
              <a:off x="12138610" y="535854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19" name="Freeform 618"/>
            <p:cNvSpPr/>
            <p:nvPr userDrawn="1"/>
          </p:nvSpPr>
          <p:spPr>
            <a:xfrm>
              <a:off x="12138610" y="5819325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0" name="Freeform 619"/>
            <p:cNvSpPr/>
            <p:nvPr userDrawn="1"/>
          </p:nvSpPr>
          <p:spPr>
            <a:xfrm>
              <a:off x="12138610" y="6510489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1" name="Freeform 620"/>
            <p:cNvSpPr/>
            <p:nvPr userDrawn="1"/>
          </p:nvSpPr>
          <p:spPr>
            <a:xfrm>
              <a:off x="12138610" y="5588937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2" name="Freeform 621"/>
            <p:cNvSpPr/>
            <p:nvPr userDrawn="1"/>
          </p:nvSpPr>
          <p:spPr>
            <a:xfrm>
              <a:off x="12138610" y="6049713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3" name="Freeform 622"/>
            <p:cNvSpPr/>
            <p:nvPr userDrawn="1"/>
          </p:nvSpPr>
          <p:spPr>
            <a:xfrm>
              <a:off x="12138610" y="6280101"/>
              <a:ext cx="60336" cy="133959"/>
            </a:xfrm>
            <a:custGeom>
              <a:avLst/>
              <a:gdLst>
                <a:gd name="connsiteX0" fmla="*/ 60336 w 60336"/>
                <a:gd name="connsiteY0" fmla="*/ 0 h 133959"/>
                <a:gd name="connsiteX1" fmla="*/ 60336 w 60336"/>
                <a:gd name="connsiteY1" fmla="*/ 133959 h 133959"/>
                <a:gd name="connsiteX2" fmla="*/ 41935 w 60336"/>
                <a:gd name="connsiteY2" fmla="*/ 130243 h 133959"/>
                <a:gd name="connsiteX3" fmla="*/ 0 w 60336"/>
                <a:gd name="connsiteY3" fmla="*/ 66979 h 133959"/>
                <a:gd name="connsiteX4" fmla="*/ 41935 w 60336"/>
                <a:gd name="connsiteY4" fmla="*/ 3715 h 13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336" h="133959">
                  <a:moveTo>
                    <a:pt x="60336" y="0"/>
                  </a:moveTo>
                  <a:lnTo>
                    <a:pt x="60336" y="133959"/>
                  </a:lnTo>
                  <a:lnTo>
                    <a:pt x="41935" y="130243"/>
                  </a:lnTo>
                  <a:cubicBezTo>
                    <a:pt x="17291" y="119820"/>
                    <a:pt x="0" y="9541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4" name="Freeform 623"/>
            <p:cNvSpPr/>
            <p:nvPr userDrawn="1"/>
          </p:nvSpPr>
          <p:spPr>
            <a:xfrm>
              <a:off x="1052040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5" name="Freeform 624"/>
            <p:cNvSpPr/>
            <p:nvPr userDrawn="1"/>
          </p:nvSpPr>
          <p:spPr>
            <a:xfrm>
              <a:off x="10751575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6" name="Freeform 625"/>
            <p:cNvSpPr/>
            <p:nvPr userDrawn="1"/>
          </p:nvSpPr>
          <p:spPr>
            <a:xfrm>
              <a:off x="10982747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7" name="Freeform 626"/>
            <p:cNvSpPr/>
            <p:nvPr userDrawn="1"/>
          </p:nvSpPr>
          <p:spPr>
            <a:xfrm>
              <a:off x="11213919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8" name="Freeform 627"/>
            <p:cNvSpPr/>
            <p:nvPr userDrawn="1"/>
          </p:nvSpPr>
          <p:spPr>
            <a:xfrm>
              <a:off x="11445091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29" name="Freeform 628"/>
            <p:cNvSpPr/>
            <p:nvPr userDrawn="1"/>
          </p:nvSpPr>
          <p:spPr>
            <a:xfrm>
              <a:off x="11676263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0" name="Freeform 629"/>
            <p:cNvSpPr/>
            <p:nvPr userDrawn="1"/>
          </p:nvSpPr>
          <p:spPr>
            <a:xfrm>
              <a:off x="11907438" y="6739198"/>
              <a:ext cx="137320" cy="118802"/>
            </a:xfrm>
            <a:custGeom>
              <a:avLst/>
              <a:gdLst>
                <a:gd name="connsiteX0" fmla="*/ 68660 w 137320"/>
                <a:gd name="connsiteY0" fmla="*/ 0 h 118802"/>
                <a:gd name="connsiteX1" fmla="*/ 137320 w 137320"/>
                <a:gd name="connsiteY1" fmla="*/ 68660 h 118802"/>
                <a:gd name="connsiteX2" fmla="*/ 117210 w 137320"/>
                <a:gd name="connsiteY2" fmla="*/ 117210 h 118802"/>
                <a:gd name="connsiteX3" fmla="*/ 114849 w 137320"/>
                <a:gd name="connsiteY3" fmla="*/ 118802 h 118802"/>
                <a:gd name="connsiteX4" fmla="*/ 22471 w 137320"/>
                <a:gd name="connsiteY4" fmla="*/ 118802 h 118802"/>
                <a:gd name="connsiteX5" fmla="*/ 20110 w 137320"/>
                <a:gd name="connsiteY5" fmla="*/ 117210 h 118802"/>
                <a:gd name="connsiteX6" fmla="*/ 0 w 137320"/>
                <a:gd name="connsiteY6" fmla="*/ 68660 h 118802"/>
                <a:gd name="connsiteX7" fmla="*/ 68660 w 137320"/>
                <a:gd name="connsiteY7" fmla="*/ 0 h 11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320" h="118802">
                  <a:moveTo>
                    <a:pt x="68660" y="0"/>
                  </a:moveTo>
                  <a:cubicBezTo>
                    <a:pt x="106580" y="0"/>
                    <a:pt x="137320" y="30740"/>
                    <a:pt x="137320" y="68660"/>
                  </a:cubicBezTo>
                  <a:cubicBezTo>
                    <a:pt x="137320" y="87620"/>
                    <a:pt x="129635" y="104785"/>
                    <a:pt x="117210" y="117210"/>
                  </a:cubicBezTo>
                  <a:lnTo>
                    <a:pt x="114849" y="118802"/>
                  </a:lnTo>
                  <a:lnTo>
                    <a:pt x="22471" y="118802"/>
                  </a:lnTo>
                  <a:lnTo>
                    <a:pt x="20110" y="117210"/>
                  </a:lnTo>
                  <a:cubicBezTo>
                    <a:pt x="7685" y="104785"/>
                    <a:pt x="0" y="87620"/>
                    <a:pt x="0" y="68660"/>
                  </a:cubicBezTo>
                  <a:cubicBezTo>
                    <a:pt x="0" y="30740"/>
                    <a:pt x="30740" y="0"/>
                    <a:pt x="68660" y="0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  <p:sp>
          <p:nvSpPr>
            <p:cNvPr id="631" name="Freeform 630"/>
            <p:cNvSpPr/>
            <p:nvPr userDrawn="1"/>
          </p:nvSpPr>
          <p:spPr>
            <a:xfrm>
              <a:off x="12138610" y="6731620"/>
              <a:ext cx="60336" cy="126380"/>
            </a:xfrm>
            <a:custGeom>
              <a:avLst/>
              <a:gdLst>
                <a:gd name="connsiteX0" fmla="*/ 60336 w 60336"/>
                <a:gd name="connsiteY0" fmla="*/ 0 h 126380"/>
                <a:gd name="connsiteX1" fmla="*/ 60336 w 60336"/>
                <a:gd name="connsiteY1" fmla="*/ 126380 h 126380"/>
                <a:gd name="connsiteX2" fmla="*/ 37244 w 60336"/>
                <a:gd name="connsiteY2" fmla="*/ 126380 h 126380"/>
                <a:gd name="connsiteX3" fmla="*/ 11726 w 60336"/>
                <a:gd name="connsiteY3" fmla="*/ 105368 h 126380"/>
                <a:gd name="connsiteX4" fmla="*/ 0 w 60336"/>
                <a:gd name="connsiteY4" fmla="*/ 66979 h 126380"/>
                <a:gd name="connsiteX5" fmla="*/ 41935 w 60336"/>
                <a:gd name="connsiteY5" fmla="*/ 3715 h 12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336" h="126380">
                  <a:moveTo>
                    <a:pt x="60336" y="0"/>
                  </a:moveTo>
                  <a:lnTo>
                    <a:pt x="60336" y="126380"/>
                  </a:lnTo>
                  <a:lnTo>
                    <a:pt x="37244" y="126380"/>
                  </a:lnTo>
                  <a:lnTo>
                    <a:pt x="11726" y="105368"/>
                  </a:lnTo>
                  <a:cubicBezTo>
                    <a:pt x="4323" y="94410"/>
                    <a:pt x="0" y="81199"/>
                    <a:pt x="0" y="66979"/>
                  </a:cubicBezTo>
                  <a:cubicBezTo>
                    <a:pt x="0" y="38539"/>
                    <a:pt x="17291" y="14138"/>
                    <a:pt x="41935" y="3715"/>
                  </a:cubicBezTo>
                  <a:close/>
                </a:path>
              </a:pathLst>
            </a:custGeom>
            <a:solidFill>
              <a:srgbClr val="E7F3E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>
                <a:solidFill>
                  <a:srgbClr val="FFFFFF"/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995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26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flipH="1" flipV="1">
            <a:off x="11668126" y="654358"/>
            <a:ext cx="161619" cy="63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17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855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7497600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819350" y="2158987"/>
            <a:ext cx="3744000" cy="541687"/>
          </a:xfrm>
        </p:spPr>
        <p:txBody>
          <a:bodyPr anchor="t"/>
          <a:lstStyle>
            <a:lvl1pPr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7819350" y="1227048"/>
            <a:ext cx="3744000" cy="664797"/>
          </a:xfr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59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88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284742" y="2668041"/>
            <a:ext cx="9620491" cy="3201026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chemeClr val="tx2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953512" y="1424081"/>
            <a:ext cx="951721" cy="951721"/>
          </a:xfrm>
          <a:prstGeom prst="rect">
            <a:avLst/>
          </a:prstGeom>
          <a:noFill/>
          <a:ln>
            <a:solidFill>
              <a:srgbClr val="177C5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190429_MOF_University Education Assessment_v20190428b_NA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0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220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0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3826800"/>
            <a:ext cx="10936800" cy="2041200"/>
          </a:xfrm>
        </p:spPr>
        <p:txBody>
          <a:bodyPr anchor="t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400" baseline="0">
                <a:solidFill>
                  <a:srgbClr val="177C5A"/>
                </a:solidFill>
              </a:defRPr>
            </a:lvl1pPr>
            <a:lvl2pPr>
              <a:defRPr sz="3400"/>
            </a:lvl2pPr>
            <a:lvl3pPr>
              <a:defRPr sz="3400"/>
            </a:lvl3pPr>
            <a:lvl4pPr>
              <a:defRPr sz="3400"/>
            </a:lvl4pPr>
            <a:lvl5pPr>
              <a:defRPr sz="3400"/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25667" y="6236496"/>
            <a:ext cx="372558" cy="39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09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109.xml"/><Relationship Id="rId47" Type="http://schemas.openxmlformats.org/officeDocument/2006/relationships/slideLayout" Target="../slideLayouts/slideLayout114.xml"/><Relationship Id="rId63" Type="http://schemas.openxmlformats.org/officeDocument/2006/relationships/slideLayout" Target="../slideLayouts/slideLayout130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74.xml"/><Relationship Id="rId71" Type="http://schemas.openxmlformats.org/officeDocument/2006/relationships/oleObject" Target="../embeddings/oleObject68.bin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slideLayout" Target="../slideLayouts/slideLayout104.xml"/><Relationship Id="rId40" Type="http://schemas.openxmlformats.org/officeDocument/2006/relationships/slideLayout" Target="../slideLayouts/slideLayout107.xml"/><Relationship Id="rId45" Type="http://schemas.openxmlformats.org/officeDocument/2006/relationships/slideLayout" Target="../slideLayouts/slideLayout112.xml"/><Relationship Id="rId53" Type="http://schemas.openxmlformats.org/officeDocument/2006/relationships/slideLayout" Target="../slideLayouts/slideLayout120.xml"/><Relationship Id="rId58" Type="http://schemas.openxmlformats.org/officeDocument/2006/relationships/slideLayout" Target="../slideLayouts/slideLayout125.xml"/><Relationship Id="rId66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72.xml"/><Relationship Id="rId61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43" Type="http://schemas.openxmlformats.org/officeDocument/2006/relationships/slideLayout" Target="../slideLayouts/slideLayout110.xml"/><Relationship Id="rId48" Type="http://schemas.openxmlformats.org/officeDocument/2006/relationships/slideLayout" Target="../slideLayouts/slideLayout115.xml"/><Relationship Id="rId56" Type="http://schemas.openxmlformats.org/officeDocument/2006/relationships/slideLayout" Target="../slideLayouts/slideLayout123.xml"/><Relationship Id="rId64" Type="http://schemas.openxmlformats.org/officeDocument/2006/relationships/slideLayout" Target="../slideLayouts/slideLayout131.xml"/><Relationship Id="rId69" Type="http://schemas.openxmlformats.org/officeDocument/2006/relationships/vmlDrawing" Target="../drawings/vmlDrawing68.vml"/><Relationship Id="rId8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118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slideLayout" Target="../slideLayouts/slideLayout105.xml"/><Relationship Id="rId46" Type="http://schemas.openxmlformats.org/officeDocument/2006/relationships/slideLayout" Target="../slideLayouts/slideLayout113.xml"/><Relationship Id="rId59" Type="http://schemas.openxmlformats.org/officeDocument/2006/relationships/slideLayout" Target="../slideLayouts/slideLayout126.xml"/><Relationship Id="rId67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121.xml"/><Relationship Id="rId62" Type="http://schemas.openxmlformats.org/officeDocument/2006/relationships/slideLayout" Target="../slideLayouts/slideLayout129.xml"/><Relationship Id="rId70" Type="http://schemas.openxmlformats.org/officeDocument/2006/relationships/tags" Target="../tags/tag121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slideLayout" Target="../slideLayouts/slideLayout103.xml"/><Relationship Id="rId49" Type="http://schemas.openxmlformats.org/officeDocument/2006/relationships/slideLayout" Target="../slideLayouts/slideLayout116.xml"/><Relationship Id="rId57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98.xml"/><Relationship Id="rId44" Type="http://schemas.openxmlformats.org/officeDocument/2006/relationships/slideLayout" Target="../slideLayouts/slideLayout111.xml"/><Relationship Id="rId52" Type="http://schemas.openxmlformats.org/officeDocument/2006/relationships/slideLayout" Target="../slideLayouts/slideLayout119.xml"/><Relationship Id="rId60" Type="http://schemas.openxmlformats.org/officeDocument/2006/relationships/slideLayout" Target="../slideLayouts/slideLayout127.xml"/><Relationship Id="rId6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17.xml"/><Relationship Id="rId55" Type="http://schemas.openxmlformats.org/officeDocument/2006/relationships/slideLayout" Target="../slideLayouts/slideLayout1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755769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ea typeface="+mn-ea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Next LT Arabic Light" panose="020B0303020203050203" pitchFamily="34" charset="-78"/>
              <a:ea typeface="+mn-ea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1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3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8" r:id="rId40"/>
    <p:sldLayoutId id="2147485127" r:id="rId41"/>
    <p:sldLayoutId id="2147485169" r:id="rId42"/>
    <p:sldLayoutId id="2147485126" r:id="rId43"/>
    <p:sldLayoutId id="2147485170" r:id="rId44"/>
    <p:sldLayoutId id="2147485153" r:id="rId45"/>
    <p:sldLayoutId id="2147485171" r:id="rId46"/>
    <p:sldLayoutId id="2147485128" r:id="rId47"/>
    <p:sldLayoutId id="2147485129" r:id="rId48"/>
    <p:sldLayoutId id="2147485130" r:id="rId49"/>
    <p:sldLayoutId id="2147485131" r:id="rId50"/>
    <p:sldLayoutId id="2147485145" r:id="rId51"/>
    <p:sldLayoutId id="2147485133" r:id="rId52"/>
    <p:sldLayoutId id="2147485144" r:id="rId53"/>
    <p:sldLayoutId id="2147485134" r:id="rId54"/>
    <p:sldLayoutId id="2147485146" r:id="rId55"/>
    <p:sldLayoutId id="2147485160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  <p:sldLayoutId id="2147485182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DIN Next LT Arabic Light" panose="020B0303020203050203" pitchFamily="34" charset="-78"/>
          <a:ea typeface="+mj-ea"/>
          <a:cs typeface="DIN Next LT Arabic Light" panose="020B0303020203050203" pitchFamily="34" charset="-78"/>
          <a:sym typeface="DIN Next LT Arabic Light" panose="020B0303020203050203" pitchFamily="34" charset="-78"/>
        </a:defRPr>
      </a:lvl1pPr>
    </p:titleStyle>
    <p:bodyStyle>
      <a:lvl1pPr marL="0" indent="0" algn="r" defTabSz="914400" rtl="1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1pPr>
      <a:lvl2pPr marL="284400" indent="-172800" algn="r" defTabSz="914400" rtl="1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2pPr>
      <a:lvl3pPr marL="511200" indent="-165600" algn="r" defTabSz="914400" rtl="1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3pPr>
      <a:lvl4pPr marL="0" indent="0" algn="r" defTabSz="914400" rtl="1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4pPr>
      <a:lvl5pPr marL="0" indent="0" algn="r" defTabSz="914400" rtl="1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5pPr>
      <a:lvl6pPr marL="269875" indent="-152400" algn="r" defTabSz="914400" rtl="1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6pPr>
      <a:lvl7pPr marL="0" indent="0" algn="r" defTabSz="914400" rtl="1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7pPr>
      <a:lvl8pPr marL="0" indent="0" algn="r" defTabSz="914400" rtl="1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8pPr>
      <a:lvl9pPr marL="0" indent="0" algn="r" defTabSz="914400" rtl="1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812242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32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110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26576" y="6312594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pPr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45063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  <p:sldLayoutId id="2147485189" r:id="rId5"/>
    <p:sldLayoutId id="2147485190" r:id="rId6"/>
    <p:sldLayoutId id="2147485191" r:id="rId7"/>
    <p:sldLayoutId id="2147485192" r:id="rId8"/>
    <p:sldLayoutId id="2147485193" r:id="rId9"/>
    <p:sldLayoutId id="2147485194" r:id="rId10"/>
    <p:sldLayoutId id="2147485195" r:id="rId11"/>
    <p:sldLayoutId id="2147485196" r:id="rId12"/>
    <p:sldLayoutId id="2147485197" r:id="rId13"/>
    <p:sldLayoutId id="2147485198" r:id="rId14"/>
    <p:sldLayoutId id="2147485199" r:id="rId15"/>
    <p:sldLayoutId id="2147485200" r:id="rId16"/>
    <p:sldLayoutId id="2147485201" r:id="rId17"/>
    <p:sldLayoutId id="2147485202" r:id="rId18"/>
    <p:sldLayoutId id="2147485203" r:id="rId19"/>
    <p:sldLayoutId id="2147485204" r:id="rId20"/>
    <p:sldLayoutId id="2147485205" r:id="rId21"/>
    <p:sldLayoutId id="2147485206" r:id="rId22"/>
    <p:sldLayoutId id="2147485207" r:id="rId23"/>
    <p:sldLayoutId id="2147485208" r:id="rId24"/>
    <p:sldLayoutId id="2147485209" r:id="rId25"/>
    <p:sldLayoutId id="2147485210" r:id="rId26"/>
    <p:sldLayoutId id="2147485211" r:id="rId27"/>
    <p:sldLayoutId id="2147485212" r:id="rId28"/>
    <p:sldLayoutId id="2147485213" r:id="rId29"/>
    <p:sldLayoutId id="2147485214" r:id="rId30"/>
    <p:sldLayoutId id="2147485215" r:id="rId31"/>
    <p:sldLayoutId id="2147485216" r:id="rId32"/>
    <p:sldLayoutId id="2147485217" r:id="rId33"/>
    <p:sldLayoutId id="2147485218" r:id="rId34"/>
    <p:sldLayoutId id="2147485219" r:id="rId35"/>
    <p:sldLayoutId id="2147485220" r:id="rId36"/>
    <p:sldLayoutId id="2147485221" r:id="rId37"/>
    <p:sldLayoutId id="2147485222" r:id="rId38"/>
    <p:sldLayoutId id="2147485223" r:id="rId39"/>
    <p:sldLayoutId id="2147485224" r:id="rId40"/>
    <p:sldLayoutId id="2147485225" r:id="rId41"/>
    <p:sldLayoutId id="2147485226" r:id="rId42"/>
    <p:sldLayoutId id="2147485227" r:id="rId43"/>
    <p:sldLayoutId id="2147485228" r:id="rId44"/>
    <p:sldLayoutId id="2147485229" r:id="rId45"/>
    <p:sldLayoutId id="2147485230" r:id="rId46"/>
    <p:sldLayoutId id="2147485231" r:id="rId47"/>
    <p:sldLayoutId id="2147485232" r:id="rId48"/>
    <p:sldLayoutId id="2147485233" r:id="rId49"/>
    <p:sldLayoutId id="2147485234" r:id="rId50"/>
    <p:sldLayoutId id="2147485235" r:id="rId51"/>
    <p:sldLayoutId id="2147485236" r:id="rId52"/>
    <p:sldLayoutId id="2147485237" r:id="rId53"/>
    <p:sldLayoutId id="2147485238" r:id="rId54"/>
    <p:sldLayoutId id="2147485239" r:id="rId55"/>
    <p:sldLayoutId id="2147485240" r:id="rId56"/>
    <p:sldLayoutId id="2147485241" r:id="rId57"/>
    <p:sldLayoutId id="2147485242" r:id="rId58"/>
    <p:sldLayoutId id="2147485243" r:id="rId59"/>
    <p:sldLayoutId id="2147485244" r:id="rId60"/>
    <p:sldLayoutId id="2147485245" r:id="rId61"/>
    <p:sldLayoutId id="2147485246" r:id="rId62"/>
    <p:sldLayoutId id="2147485247" r:id="rId63"/>
    <p:sldLayoutId id="2147485248" r:id="rId64"/>
    <p:sldLayoutId id="2147485249" r:id="rId65"/>
    <p:sldLayoutId id="2147485250" r:id="rId66"/>
    <p:sldLayoutId id="2147485251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DIN Next LT Arabic Light" panose="020B0303020203050203" pitchFamily="34" charset="-78"/>
          <a:ea typeface="+mj-ea"/>
          <a:cs typeface="DIN Next LT Arabic Light" panose="020B0303020203050203" pitchFamily="34" charset="-78"/>
          <a:sym typeface="DIN Next LT Arabic Light" panose="020B0303020203050203" pitchFamily="34" charset="-78"/>
        </a:defRPr>
      </a:lvl1pPr>
    </p:titleStyle>
    <p:bodyStyle>
      <a:lvl1pPr marL="0" indent="0" algn="r" defTabSz="914400" rtl="1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1pPr>
      <a:lvl2pPr marL="284400" indent="-172800" algn="r" defTabSz="914400" rtl="1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2pPr>
      <a:lvl3pPr marL="511200" indent="-165600" algn="r" defTabSz="914400" rtl="1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3pPr>
      <a:lvl4pPr marL="0" indent="0" algn="r" defTabSz="914400" rtl="1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4pPr>
      <a:lvl5pPr marL="0" indent="0" algn="r" defTabSz="914400" rtl="1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5pPr>
      <a:lvl6pPr marL="269875" indent="-152400" algn="r" defTabSz="914400" rtl="1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6pPr>
      <a:lvl7pPr marL="0" indent="0" algn="r" defTabSz="914400" rtl="1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7pPr>
      <a:lvl8pPr marL="0" indent="0" algn="r" defTabSz="914400" rtl="1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8pPr>
      <a:lvl9pPr marL="0" indent="0" algn="r" defTabSz="914400" rtl="1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DIN Next LT Arabic Light" panose="020B0303020203050203" pitchFamily="34" charset="-78"/>
          <a:ea typeface="+mn-ea"/>
          <a:cs typeface="DIN Next LT Arabic Light" panose="020B0303020203050203" pitchFamily="34" charset="-78"/>
          <a:sym typeface="DIN Next LT Arabic Light" panose="020B0303020203050203" pitchFamily="34" charset="-7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5566" y="3721729"/>
            <a:ext cx="7280615" cy="886397"/>
          </a:xfrm>
        </p:spPr>
        <p:txBody>
          <a:bodyPr/>
          <a:lstStyle/>
          <a:p>
            <a:endParaRPr lang="ar-SA" b="0" i="0" u="none" baseline="0" dirty="0">
              <a:solidFill>
                <a:schemeClr val="tx1"/>
              </a:solidFill>
              <a:sym typeface="DIN Next LT Arabic Light" panose="020B0303020203050203" pitchFamily="34" charset="-78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955839" y="4733501"/>
            <a:ext cx="5710342" cy="257250"/>
          </a:xfrm>
        </p:spPr>
        <p:txBody>
          <a:bodyPr/>
          <a:lstStyle/>
          <a:p>
            <a:pPr algn="r" rtl="1"/>
            <a:r>
              <a:rPr lang="ar-SA" dirty="0" smtClean="0"/>
              <a:t>اغسطس</a:t>
            </a:r>
            <a:r>
              <a:rPr lang="ar-SA" b="0" i="0" u="none" baseline="0" dirty="0" smtClean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 </a:t>
            </a:r>
            <a:r>
              <a:rPr lang="ar-SA" b="0" i="0" u="none" baseline="0" dirty="0">
                <a:latin typeface="DIN Next LT Arabic Light" panose="020B0303020203050203" pitchFamily="34" charset="-78"/>
                <a:cs typeface="DIN Next LT Arabic Light" panose="020B0303020203050203" pitchFamily="34" charset="-78"/>
                <a:sym typeface="DIN Next LT Arabic Light" panose="020B0303020203050203" pitchFamily="34" charset="-78"/>
              </a:rPr>
              <a:t>2019</a:t>
            </a:r>
            <a:endParaRPr lang="ar-SA" dirty="0">
              <a:latin typeface="DIN Next LT Arabic Light" panose="020B0303020203050203" pitchFamily="34" charset="-78"/>
              <a:cs typeface="DIN Next LT Arabic Light" panose="020B0303020203050203" pitchFamily="34" charset="-78"/>
              <a:sym typeface="DIN Next LT Arabic Light" panose="020B030302020305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4530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184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420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41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araboc">
      <a:dk1>
        <a:srgbClr val="808080"/>
      </a:dk1>
      <a:lt1>
        <a:sysClr val="window" lastClr="FFFFFF"/>
      </a:lt1>
      <a:dk2>
        <a:srgbClr val="177C5A"/>
      </a:dk2>
      <a:lt2>
        <a:srgbClr val="F2F2F2"/>
      </a:lt2>
      <a:accent1>
        <a:srgbClr val="002A24"/>
      </a:accent1>
      <a:accent2>
        <a:srgbClr val="0A3929"/>
      </a:accent2>
      <a:accent3>
        <a:srgbClr val="CAD434"/>
      </a:accent3>
      <a:accent4>
        <a:srgbClr val="28D69C"/>
      </a:accent4>
      <a:accent5>
        <a:srgbClr val="727A82"/>
      </a:accent5>
      <a:accent6>
        <a:srgbClr val="C86E00"/>
      </a:accent6>
      <a:hlink>
        <a:srgbClr val="1F396C"/>
      </a:hlink>
      <a:folHlink>
        <a:srgbClr val="335EB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77C5A"/>
        </a:solidFill>
        <a:ln w="9525" cap="rnd" cmpd="sng" algn="ctr">
          <a:solidFill>
            <a:srgbClr val="177C5A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<a:prstTxWarp prst="textNoShape">
          <a:avLst/>
        </a:prstTxWarp>
        <a:noAutofit/>
      </a:bodyPr>
      <a:lstStyle>
        <a:defPPr algn="r" rtl="1">
          <a:buSzPct val="100000"/>
          <a:buFont typeface="Trebuchet MS" panose="020B0603020202020204" pitchFamily="34" charset="0"/>
          <a:buChar char="​"/>
          <a:defRPr dirty="0" err="1" smtClean="0">
            <a:solidFill>
              <a:srgbClr val="808080">
                <a:lumMod val="100000"/>
              </a:srgbClr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BCG Grid 16:9">
  <a:themeElements>
    <a:clrScheme name="araboc">
      <a:dk1>
        <a:srgbClr val="808080"/>
      </a:dk1>
      <a:lt1>
        <a:sysClr val="window" lastClr="FFFFFF"/>
      </a:lt1>
      <a:dk2>
        <a:srgbClr val="177C5A"/>
      </a:dk2>
      <a:lt2>
        <a:srgbClr val="F2F2F2"/>
      </a:lt2>
      <a:accent1>
        <a:srgbClr val="002A24"/>
      </a:accent1>
      <a:accent2>
        <a:srgbClr val="0A3929"/>
      </a:accent2>
      <a:accent3>
        <a:srgbClr val="CAD434"/>
      </a:accent3>
      <a:accent4>
        <a:srgbClr val="28D69C"/>
      </a:accent4>
      <a:accent5>
        <a:srgbClr val="727A82"/>
      </a:accent5>
      <a:accent6>
        <a:srgbClr val="C86E00"/>
      </a:accent6>
      <a:hlink>
        <a:srgbClr val="1F396C"/>
      </a:hlink>
      <a:folHlink>
        <a:srgbClr val="335EB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77C5A"/>
        </a:solidFill>
        <a:ln w="9525" cap="rnd" cmpd="sng" algn="ctr">
          <a:solidFill>
            <a:srgbClr val="177C5A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1" fromWordArt="0" anchor="ctr" anchorCtr="0" forceAA="0" compatLnSpc="1">
        <a:prstTxWarp prst="textNoShape">
          <a:avLst/>
        </a:prstTxWarp>
        <a:noAutofit/>
      </a:bodyPr>
      <a:lstStyle>
        <a:defPPr algn="r" rtl="1">
          <a:buSzPct val="100000"/>
          <a:buFont typeface="Trebuchet MS" panose="020B0603020202020204" pitchFamily="34" charset="0"/>
          <a:buChar char="​"/>
          <a:defRPr dirty="0" err="1" smtClean="0">
            <a:solidFill>
              <a:srgbClr val="808080">
                <a:lumMod val="100000"/>
              </a:srgbClr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</TotalTime>
  <Words>3</Words>
  <Application>Microsoft Office PowerPoint</Application>
  <PresentationFormat>Widescreen</PresentationFormat>
  <Paragraphs>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DIN Next LT Arabic Light</vt:lpstr>
      <vt:lpstr>Trebuchet MS</vt:lpstr>
      <vt:lpstr>BCG Grid 16:9</vt:lpstr>
      <vt:lpstr>1_BCG Grid 16:9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الرؤية الوطنية للبيانات نحو تحقيق مكاسب تنموية   الهيئة السعودية للبيانات والذكاء والاصطناعي ومكتب ادارة البيانات الوطنية</dc:title>
  <dc:creator>Ebtisam Ahmad</dc:creator>
  <cp:lastModifiedBy>Ebtisam Ahmad</cp:lastModifiedBy>
  <cp:revision>39</cp:revision>
  <dcterms:modified xsi:type="dcterms:W3CDTF">2019-09-25T10:43:47Z</dcterms:modified>
</cp:coreProperties>
</file>